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17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ppt/tags/tag1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tags/tag21.xml" ContentType="application/vnd.openxmlformats-officedocument.presentationml.tags+xml"/>
  <Override PartName="/ppt/tags/tag20.xml" ContentType="application/vnd.openxmlformats-officedocument.presentationml.tags+xml"/>
  <Override PartName="/ppt/tags/tag18.xml" ContentType="application/vnd.openxmlformats-officedocument.presentationml.tag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2" r:id="rId1"/>
    <p:sldMasterId id="2147483693" r:id="rId2"/>
  </p:sldMasterIdLst>
  <p:notesMasterIdLst>
    <p:notesMasterId r:id="rId13"/>
  </p:notesMasterIdLst>
  <p:sldIdLst>
    <p:sldId id="276" r:id="rId3"/>
    <p:sldId id="764" r:id="rId4"/>
    <p:sldId id="786" r:id="rId5"/>
    <p:sldId id="784" r:id="rId6"/>
    <p:sldId id="788" r:id="rId7"/>
    <p:sldId id="790" r:id="rId8"/>
    <p:sldId id="787" r:id="rId9"/>
    <p:sldId id="789" r:id="rId10"/>
    <p:sldId id="791" r:id="rId11"/>
    <p:sldId id="720" r:id="rId12"/>
  </p:sldIdLst>
  <p:sldSz cx="12192000" cy="6858000"/>
  <p:notesSz cx="6797675" cy="9926638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pos="7227" userDrawn="1">
          <p15:clr>
            <a:srgbClr val="A4A3A4"/>
          </p15:clr>
        </p15:guide>
        <p15:guide id="4" pos="7167" userDrawn="1">
          <p15:clr>
            <a:srgbClr val="A4A3A4"/>
          </p15:clr>
        </p15:guide>
        <p15:guide id="5" orient="horz" pos="1434" userDrawn="1">
          <p15:clr>
            <a:srgbClr val="A4A3A4"/>
          </p15:clr>
        </p15:guide>
        <p15:guide id="6" orient="horz" pos="1366" userDrawn="1">
          <p15:clr>
            <a:srgbClr val="A4A3A4"/>
          </p15:clr>
        </p15:guide>
        <p15:guide id="7" orient="horz" pos="3952" userDrawn="1">
          <p15:clr>
            <a:srgbClr val="A4A3A4"/>
          </p15:clr>
        </p15:guide>
        <p15:guide id="8" pos="241" userDrawn="1">
          <p15:clr>
            <a:srgbClr val="A4A3A4"/>
          </p15:clr>
        </p15:guide>
        <p15:guide id="9" pos="6199" userDrawn="1">
          <p15:clr>
            <a:srgbClr val="A4A3A4"/>
          </p15:clr>
        </p15:guide>
        <p15:guide id="10" orient="horz" pos="2364" userDrawn="1">
          <p15:clr>
            <a:srgbClr val="A4A3A4"/>
          </p15:clr>
        </p15:guide>
        <p15:guide id="11" pos="5503" userDrawn="1">
          <p15:clr>
            <a:srgbClr val="A4A3A4"/>
          </p15:clr>
        </p15:guide>
        <p15:guide id="12" orient="horz" pos="1275" userDrawn="1">
          <p15:clr>
            <a:srgbClr val="A4A3A4"/>
          </p15:clr>
        </p15:guide>
        <p15:guide id="13" pos="7529" userDrawn="1">
          <p15:clr>
            <a:srgbClr val="A4A3A4"/>
          </p15:clr>
        </p15:guide>
        <p15:guide id="14" pos="4355" userDrawn="1">
          <p15:clr>
            <a:srgbClr val="A4A3A4"/>
          </p15:clr>
        </p15:guide>
        <p15:guide id="15" pos="6380" userDrawn="1">
          <p15:clr>
            <a:srgbClr val="A4A3A4"/>
          </p15:clr>
        </p15:guide>
        <p15:guide id="16" orient="horz" pos="3861" userDrawn="1">
          <p15:clr>
            <a:srgbClr val="A4A3A4"/>
          </p15:clr>
        </p15:guide>
        <p15:guide id="17" pos="2569" userDrawn="1">
          <p15:clr>
            <a:srgbClr val="A4A3A4"/>
          </p15:clr>
        </p15:guide>
        <p15:guide id="18" orient="horz" pos="4201" userDrawn="1">
          <p15:clr>
            <a:srgbClr val="A4A3A4"/>
          </p15:clr>
        </p15:guide>
        <p15:guide id="19" orient="horz" pos="1661" userDrawn="1">
          <p15:clr>
            <a:srgbClr val="A4A3A4"/>
          </p15:clr>
        </p15:guide>
        <p15:guide id="20" orient="horz" pos="1548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tefan Mittermeier" initials="SM" lastIdx="1" clrIdx="0">
    <p:extLst>
      <p:ext uri="{19B8F6BF-5375-455C-9EA6-DF929625EA0E}">
        <p15:presenceInfo xmlns:p15="http://schemas.microsoft.com/office/powerpoint/2012/main" userId="abed5686540f6ffe" providerId="Windows Live"/>
      </p:ext>
    </p:extLst>
  </p:cmAuthor>
  <p:cmAuthor id="2" name="Mittermeier, Stefan" initials="MS" lastIdx="1" clrIdx="1">
    <p:extLst>
      <p:ext uri="{19B8F6BF-5375-455C-9EA6-DF929625EA0E}">
        <p15:presenceInfo xmlns:p15="http://schemas.microsoft.com/office/powerpoint/2012/main" userId="S-1-5-21-1659004503-362288127-725345543-374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A4B9B"/>
    <a:srgbClr val="D40E3A"/>
    <a:srgbClr val="000000"/>
    <a:srgbClr val="626468"/>
    <a:srgbClr val="D9D9D9"/>
    <a:srgbClr val="CACACA"/>
    <a:srgbClr val="E2E3E5"/>
    <a:srgbClr val="F6F6F6"/>
    <a:srgbClr val="EEEEEE"/>
    <a:srgbClr val="3056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3517B7C-9AFB-4918-ABE5-2ABAA5B6E0E3}" v="4897" dt="2019-12-03T08:43:29.70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786" autoAdjust="0"/>
    <p:restoredTop sz="96433" autoAdjust="0"/>
  </p:normalViewPr>
  <p:slideViewPr>
    <p:cSldViewPr snapToGrid="0">
      <p:cViewPr varScale="1">
        <p:scale>
          <a:sx n="110" d="100"/>
          <a:sy n="110" d="100"/>
        </p:scale>
        <p:origin x="642" y="96"/>
      </p:cViewPr>
      <p:guideLst>
        <p:guide orient="horz" pos="2160"/>
        <p:guide pos="3840"/>
        <p:guide pos="7227"/>
        <p:guide pos="7167"/>
        <p:guide orient="horz" pos="1434"/>
        <p:guide orient="horz" pos="1366"/>
        <p:guide orient="horz" pos="3952"/>
        <p:guide pos="241"/>
        <p:guide pos="6199"/>
        <p:guide orient="horz" pos="2364"/>
        <p:guide pos="5503"/>
        <p:guide orient="horz" pos="1275"/>
        <p:guide pos="7529"/>
        <p:guide pos="4355"/>
        <p:guide pos="6380"/>
        <p:guide orient="horz" pos="3861"/>
        <p:guide pos="2569"/>
        <p:guide orient="horz" pos="4201"/>
        <p:guide orient="horz" pos="1661"/>
        <p:guide orient="horz" pos="154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" Target="slides/slide1.xml"/><Relationship Id="rId21" Type="http://schemas.openxmlformats.org/officeDocument/2006/relationships/customXml" Target="../customXml/item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20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presProps" Target="presProps.xml"/><Relationship Id="rId23" Type="http://schemas.openxmlformats.org/officeDocument/2006/relationships/customXml" Target="../customXml/item3.xml"/><Relationship Id="rId10" Type="http://schemas.openxmlformats.org/officeDocument/2006/relationships/slide" Target="slides/slide8.xml"/><Relationship Id="rId19" Type="http://schemas.microsoft.com/office/2016/11/relationships/changesInfo" Target="changesInfos/changesInfo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commentAuthors" Target="commentAuthors.xml"/><Relationship Id="rId22" Type="http://schemas.openxmlformats.org/officeDocument/2006/relationships/customXml" Target="../customXml/item2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ittermeier, Stefan" userId="94945143-6bbb-4fc1-b6eb-0ddcd12e4481" providerId="ADAL" clId="{F7C5A2B4-8D40-4061-8ECA-ACCBCDA27E2A}"/>
    <pc:docChg chg="undo redo custSel addSld delSld modSld">
      <pc:chgData name="Mittermeier, Stefan" userId="94945143-6bbb-4fc1-b6eb-0ddcd12e4481" providerId="ADAL" clId="{F7C5A2B4-8D40-4061-8ECA-ACCBCDA27E2A}" dt="2019-11-13T11:08:13.210" v="359"/>
      <pc:docMkLst>
        <pc:docMk/>
      </pc:docMkLst>
      <pc:sldChg chg="modSp">
        <pc:chgData name="Mittermeier, Stefan" userId="94945143-6bbb-4fc1-b6eb-0ddcd12e4481" providerId="ADAL" clId="{F7C5A2B4-8D40-4061-8ECA-ACCBCDA27E2A}" dt="2019-11-13T10:45:44.055" v="350" actId="20577"/>
        <pc:sldMkLst>
          <pc:docMk/>
          <pc:sldMk cId="2169466686" sldId="720"/>
        </pc:sldMkLst>
        <pc:spChg chg="mod">
          <ac:chgData name="Mittermeier, Stefan" userId="94945143-6bbb-4fc1-b6eb-0ddcd12e4481" providerId="ADAL" clId="{F7C5A2B4-8D40-4061-8ECA-ACCBCDA27E2A}" dt="2019-11-13T10:45:44.055" v="350" actId="20577"/>
          <ac:spMkLst>
            <pc:docMk/>
            <pc:sldMk cId="2169466686" sldId="720"/>
            <ac:spMk id="7" creationId="{AE7CC758-8843-4364-9BE1-03FBF6242840}"/>
          </ac:spMkLst>
        </pc:spChg>
      </pc:sldChg>
    </pc:docChg>
  </pc:docChgLst>
  <pc:docChgLst>
    <pc:chgData name="Mittermeier, Stefan" userId="94945143-6bbb-4fc1-b6eb-0ddcd12e4481" providerId="ADAL" clId="{13517B7C-9AFB-4918-ABE5-2ABAA5B6E0E3}"/>
    <pc:docChg chg="undo redo custSel addSld delSld modSld sldOrd">
      <pc:chgData name="Mittermeier, Stefan" userId="94945143-6bbb-4fc1-b6eb-0ddcd12e4481" providerId="ADAL" clId="{13517B7C-9AFB-4918-ABE5-2ABAA5B6E0E3}" dt="2019-12-03T08:43:29.707" v="4896"/>
      <pc:docMkLst>
        <pc:docMk/>
      </pc:docMkLst>
      <pc:sldChg chg="add del">
        <pc:chgData name="Mittermeier, Stefan" userId="94945143-6bbb-4fc1-b6eb-0ddcd12e4481" providerId="ADAL" clId="{13517B7C-9AFB-4918-ABE5-2ABAA5B6E0E3}" dt="2019-11-20T13:14:16.408" v="3221" actId="2696"/>
        <pc:sldMkLst>
          <pc:docMk/>
          <pc:sldMk cId="2169466686" sldId="720"/>
        </pc:sldMkLst>
      </pc:sldChg>
      <pc:sldChg chg="modSp">
        <pc:chgData name="Mittermeier, Stefan" userId="94945143-6bbb-4fc1-b6eb-0ddcd12e4481" providerId="ADAL" clId="{13517B7C-9AFB-4918-ABE5-2ABAA5B6E0E3}" dt="2019-11-20T13:13:59.172" v="3201" actId="20577"/>
        <pc:sldMkLst>
          <pc:docMk/>
          <pc:sldMk cId="3056031558" sldId="764"/>
        </pc:sldMkLst>
        <pc:spChg chg="mod">
          <ac:chgData name="Mittermeier, Stefan" userId="94945143-6bbb-4fc1-b6eb-0ddcd12e4481" providerId="ADAL" clId="{13517B7C-9AFB-4918-ABE5-2ABAA5B6E0E3}" dt="2019-11-20T13:13:59.172" v="3201" actId="20577"/>
          <ac:spMkLst>
            <pc:docMk/>
            <pc:sldMk cId="3056031558" sldId="764"/>
            <ac:spMk id="7" creationId="{FB1B323B-1478-44CF-B589-B0AA15B14D51}"/>
          </ac:spMkLst>
        </pc:spChg>
      </pc:sldChg>
      <pc:sldChg chg="addSp delSp modSp add ord">
        <pc:chgData name="Mittermeier, Stefan" userId="94945143-6bbb-4fc1-b6eb-0ddcd12e4481" providerId="ADAL" clId="{13517B7C-9AFB-4918-ABE5-2ABAA5B6E0E3}" dt="2019-12-03T08:17:39.186" v="4716" actId="20577"/>
        <pc:sldMkLst>
          <pc:docMk/>
          <pc:sldMk cId="1408741597" sldId="784"/>
        </pc:sldMkLst>
        <pc:spChg chg="add mod">
          <ac:chgData name="Mittermeier, Stefan" userId="94945143-6bbb-4fc1-b6eb-0ddcd12e4481" providerId="ADAL" clId="{13517B7C-9AFB-4918-ABE5-2ABAA5B6E0E3}" dt="2019-11-20T09:53:03.931" v="1493" actId="207"/>
          <ac:spMkLst>
            <pc:docMk/>
            <pc:sldMk cId="1408741597" sldId="784"/>
            <ac:spMk id="2" creationId="{57364501-3FBB-4148-B68C-B7DBBEDE7AF6}"/>
          </ac:spMkLst>
        </pc:spChg>
        <pc:spChg chg="add mod">
          <ac:chgData name="Mittermeier, Stefan" userId="94945143-6bbb-4fc1-b6eb-0ddcd12e4481" providerId="ADAL" clId="{13517B7C-9AFB-4918-ABE5-2ABAA5B6E0E3}" dt="2019-11-20T09:56:13.462" v="1541" actId="14100"/>
          <ac:spMkLst>
            <pc:docMk/>
            <pc:sldMk cId="1408741597" sldId="784"/>
            <ac:spMk id="5" creationId="{DFFBFD78-CDCE-4D7E-8638-6C32E879925B}"/>
          </ac:spMkLst>
        </pc:spChg>
        <pc:spChg chg="add mod">
          <ac:chgData name="Mittermeier, Stefan" userId="94945143-6bbb-4fc1-b6eb-0ddcd12e4481" providerId="ADAL" clId="{13517B7C-9AFB-4918-ABE5-2ABAA5B6E0E3}" dt="2019-11-20T10:21:12.705" v="1619" actId="164"/>
          <ac:spMkLst>
            <pc:docMk/>
            <pc:sldMk cId="1408741597" sldId="784"/>
            <ac:spMk id="7" creationId="{22D45E7C-7C7C-4AC8-92A9-4D1FB675AA44}"/>
          </ac:spMkLst>
        </pc:spChg>
        <pc:spChg chg="add del mod">
          <ac:chgData name="Mittermeier, Stefan" userId="94945143-6bbb-4fc1-b6eb-0ddcd12e4481" providerId="ADAL" clId="{13517B7C-9AFB-4918-ABE5-2ABAA5B6E0E3}" dt="2019-11-20T12:40:34.525" v="2867" actId="478"/>
          <ac:spMkLst>
            <pc:docMk/>
            <pc:sldMk cId="1408741597" sldId="784"/>
            <ac:spMk id="11" creationId="{708EABEB-6029-4F2E-9C16-B930C0CCAAC8}"/>
          </ac:spMkLst>
        </pc:spChg>
        <pc:spChg chg="add del mod">
          <ac:chgData name="Mittermeier, Stefan" userId="94945143-6bbb-4fc1-b6eb-0ddcd12e4481" providerId="ADAL" clId="{13517B7C-9AFB-4918-ABE5-2ABAA5B6E0E3}" dt="2019-11-20T10:47:17.053" v="2192" actId="478"/>
          <ac:spMkLst>
            <pc:docMk/>
            <pc:sldMk cId="1408741597" sldId="784"/>
            <ac:spMk id="17" creationId="{4AE59CF6-D4EB-4734-84A3-57BCD1822448}"/>
          </ac:spMkLst>
        </pc:spChg>
        <pc:spChg chg="add del mod">
          <ac:chgData name="Mittermeier, Stefan" userId="94945143-6bbb-4fc1-b6eb-0ddcd12e4481" providerId="ADAL" clId="{13517B7C-9AFB-4918-ABE5-2ABAA5B6E0E3}" dt="2019-11-20T10:49:34.564" v="2218" actId="478"/>
          <ac:spMkLst>
            <pc:docMk/>
            <pc:sldMk cId="1408741597" sldId="784"/>
            <ac:spMk id="18" creationId="{42FA2A4C-383C-4778-9853-915C04EBDDA6}"/>
          </ac:spMkLst>
        </pc:spChg>
        <pc:spChg chg="mod">
          <ac:chgData name="Mittermeier, Stefan" userId="94945143-6bbb-4fc1-b6eb-0ddcd12e4481" providerId="ADAL" clId="{13517B7C-9AFB-4918-ABE5-2ABAA5B6E0E3}" dt="2019-11-21T10:14:58.738" v="3963" actId="20577"/>
          <ac:spMkLst>
            <pc:docMk/>
            <pc:sldMk cId="1408741597" sldId="784"/>
            <ac:spMk id="19" creationId="{00000000-0000-0000-0000-000000000000}"/>
          </ac:spMkLst>
        </pc:spChg>
        <pc:spChg chg="add del mod">
          <ac:chgData name="Mittermeier, Stefan" userId="94945143-6bbb-4fc1-b6eb-0ddcd12e4481" providerId="ADAL" clId="{13517B7C-9AFB-4918-ABE5-2ABAA5B6E0E3}" dt="2019-11-20T10:49:36.180" v="2219" actId="478"/>
          <ac:spMkLst>
            <pc:docMk/>
            <pc:sldMk cId="1408741597" sldId="784"/>
            <ac:spMk id="20" creationId="{7E5927E6-4D83-4A65-BAFF-BAC24C730265}"/>
          </ac:spMkLst>
        </pc:spChg>
        <pc:spChg chg="mod">
          <ac:chgData name="Mittermeier, Stefan" userId="94945143-6bbb-4fc1-b6eb-0ddcd12e4481" providerId="ADAL" clId="{13517B7C-9AFB-4918-ABE5-2ABAA5B6E0E3}" dt="2019-11-20T09:53:29.355" v="1501" actId="14100"/>
          <ac:spMkLst>
            <pc:docMk/>
            <pc:sldMk cId="1408741597" sldId="784"/>
            <ac:spMk id="37" creationId="{A604D64B-DBA7-4912-BA49-CD6BF70357B3}"/>
          </ac:spMkLst>
        </pc:spChg>
        <pc:spChg chg="mod">
          <ac:chgData name="Mittermeier, Stefan" userId="94945143-6bbb-4fc1-b6eb-0ddcd12e4481" providerId="ADAL" clId="{13517B7C-9AFB-4918-ABE5-2ABAA5B6E0E3}" dt="2019-11-20T10:14:40.613" v="1552" actId="207"/>
          <ac:spMkLst>
            <pc:docMk/>
            <pc:sldMk cId="1408741597" sldId="784"/>
            <ac:spMk id="39" creationId="{6D20FED0-D813-4C11-94F9-F53066923F94}"/>
          </ac:spMkLst>
        </pc:spChg>
        <pc:spChg chg="mod">
          <ac:chgData name="Mittermeier, Stefan" userId="94945143-6bbb-4fc1-b6eb-0ddcd12e4481" providerId="ADAL" clId="{13517B7C-9AFB-4918-ABE5-2ABAA5B6E0E3}" dt="2019-11-20T10:22:36.880" v="1629" actId="20577"/>
          <ac:spMkLst>
            <pc:docMk/>
            <pc:sldMk cId="1408741597" sldId="784"/>
            <ac:spMk id="40" creationId="{EDE918A6-D153-4F3D-95A6-D674FD19E5FD}"/>
          </ac:spMkLst>
        </pc:spChg>
        <pc:spChg chg="mod">
          <ac:chgData name="Mittermeier, Stefan" userId="94945143-6bbb-4fc1-b6eb-0ddcd12e4481" providerId="ADAL" clId="{13517B7C-9AFB-4918-ABE5-2ABAA5B6E0E3}" dt="2019-11-20T10:14:53.228" v="1561" actId="207"/>
          <ac:spMkLst>
            <pc:docMk/>
            <pc:sldMk cId="1408741597" sldId="784"/>
            <ac:spMk id="42" creationId="{B2209434-F62B-4D81-8315-91A96E250309}"/>
          </ac:spMkLst>
        </pc:spChg>
        <pc:spChg chg="del">
          <ac:chgData name="Mittermeier, Stefan" userId="94945143-6bbb-4fc1-b6eb-0ddcd12e4481" providerId="ADAL" clId="{13517B7C-9AFB-4918-ABE5-2ABAA5B6E0E3}" dt="2019-11-20T09:48:08.900" v="1452" actId="478"/>
          <ac:spMkLst>
            <pc:docMk/>
            <pc:sldMk cId="1408741597" sldId="784"/>
            <ac:spMk id="43" creationId="{BC75DB41-7D58-40B1-A13D-D4580D8C672B}"/>
          </ac:spMkLst>
        </pc:spChg>
        <pc:spChg chg="mod">
          <ac:chgData name="Mittermeier, Stefan" userId="94945143-6bbb-4fc1-b6eb-0ddcd12e4481" providerId="ADAL" clId="{13517B7C-9AFB-4918-ABE5-2ABAA5B6E0E3}" dt="2019-11-20T10:15:59.894" v="1569" actId="14100"/>
          <ac:spMkLst>
            <pc:docMk/>
            <pc:sldMk cId="1408741597" sldId="784"/>
            <ac:spMk id="44" creationId="{6DE5A52E-E8B0-4F87-BB20-77E2D79F6693}"/>
          </ac:spMkLst>
        </pc:spChg>
        <pc:spChg chg="del mod topLvl">
          <ac:chgData name="Mittermeier, Stefan" userId="94945143-6bbb-4fc1-b6eb-0ddcd12e4481" providerId="ADAL" clId="{13517B7C-9AFB-4918-ABE5-2ABAA5B6E0E3}" dt="2019-11-20T10:20:49.096" v="1612" actId="478"/>
          <ac:spMkLst>
            <pc:docMk/>
            <pc:sldMk cId="1408741597" sldId="784"/>
            <ac:spMk id="53" creationId="{D403E4E0-0BB6-4076-AE03-9E61849C92BA}"/>
          </ac:spMkLst>
        </pc:spChg>
        <pc:spChg chg="mod topLvl">
          <ac:chgData name="Mittermeier, Stefan" userId="94945143-6bbb-4fc1-b6eb-0ddcd12e4481" providerId="ADAL" clId="{13517B7C-9AFB-4918-ABE5-2ABAA5B6E0E3}" dt="2019-11-20T10:21:12.705" v="1619" actId="164"/>
          <ac:spMkLst>
            <pc:docMk/>
            <pc:sldMk cId="1408741597" sldId="784"/>
            <ac:spMk id="54" creationId="{3F2154CE-D612-420C-9A8C-DEFC45A393B0}"/>
          </ac:spMkLst>
        </pc:spChg>
        <pc:spChg chg="add mod">
          <ac:chgData name="Mittermeier, Stefan" userId="94945143-6bbb-4fc1-b6eb-0ddcd12e4481" providerId="ADAL" clId="{13517B7C-9AFB-4918-ABE5-2ABAA5B6E0E3}" dt="2019-11-21T10:17:06.223" v="4114" actId="1035"/>
          <ac:spMkLst>
            <pc:docMk/>
            <pc:sldMk cId="1408741597" sldId="784"/>
            <ac:spMk id="55" creationId="{1B27B289-7E6B-4A7F-BE46-EAD9149D9D36}"/>
          </ac:spMkLst>
        </pc:spChg>
        <pc:spChg chg="add del mod">
          <ac:chgData name="Mittermeier, Stefan" userId="94945143-6bbb-4fc1-b6eb-0ddcd12e4481" providerId="ADAL" clId="{13517B7C-9AFB-4918-ABE5-2ABAA5B6E0E3}" dt="2019-11-20T10:23:27.950" v="1651" actId="478"/>
          <ac:spMkLst>
            <pc:docMk/>
            <pc:sldMk cId="1408741597" sldId="784"/>
            <ac:spMk id="57" creationId="{ED435D54-EEAF-49AC-B887-A2E5CD5B0D20}"/>
          </ac:spMkLst>
        </pc:spChg>
        <pc:spChg chg="add del mod">
          <ac:chgData name="Mittermeier, Stefan" userId="94945143-6bbb-4fc1-b6eb-0ddcd12e4481" providerId="ADAL" clId="{13517B7C-9AFB-4918-ABE5-2ABAA5B6E0E3}" dt="2019-11-20T10:23:27.950" v="1651" actId="478"/>
          <ac:spMkLst>
            <pc:docMk/>
            <pc:sldMk cId="1408741597" sldId="784"/>
            <ac:spMk id="58" creationId="{DD01C6B1-05B4-4846-BF73-D08444668FC2}"/>
          </ac:spMkLst>
        </pc:spChg>
        <pc:spChg chg="add del mod">
          <ac:chgData name="Mittermeier, Stefan" userId="94945143-6bbb-4fc1-b6eb-0ddcd12e4481" providerId="ADAL" clId="{13517B7C-9AFB-4918-ABE5-2ABAA5B6E0E3}" dt="2019-11-20T10:23:27.950" v="1651" actId="478"/>
          <ac:spMkLst>
            <pc:docMk/>
            <pc:sldMk cId="1408741597" sldId="784"/>
            <ac:spMk id="59" creationId="{947A301C-2F12-4551-BBD4-AB13C1AC4FEE}"/>
          </ac:spMkLst>
        </pc:spChg>
        <pc:spChg chg="add mod">
          <ac:chgData name="Mittermeier, Stefan" userId="94945143-6bbb-4fc1-b6eb-0ddcd12e4481" providerId="ADAL" clId="{13517B7C-9AFB-4918-ABE5-2ABAA5B6E0E3}" dt="2019-11-21T10:17:06.223" v="4114" actId="1035"/>
          <ac:spMkLst>
            <pc:docMk/>
            <pc:sldMk cId="1408741597" sldId="784"/>
            <ac:spMk id="60" creationId="{A5FAB270-7469-4C6E-90A5-45F89810F94C}"/>
          </ac:spMkLst>
        </pc:spChg>
        <pc:spChg chg="add mod">
          <ac:chgData name="Mittermeier, Stefan" userId="94945143-6bbb-4fc1-b6eb-0ddcd12e4481" providerId="ADAL" clId="{13517B7C-9AFB-4918-ABE5-2ABAA5B6E0E3}" dt="2019-11-21T10:17:06.223" v="4114" actId="1035"/>
          <ac:spMkLst>
            <pc:docMk/>
            <pc:sldMk cId="1408741597" sldId="784"/>
            <ac:spMk id="61" creationId="{2530EF0B-A868-431C-80E6-4F8AEA924B57}"/>
          </ac:spMkLst>
        </pc:spChg>
        <pc:spChg chg="add mod">
          <ac:chgData name="Mittermeier, Stefan" userId="94945143-6bbb-4fc1-b6eb-0ddcd12e4481" providerId="ADAL" clId="{13517B7C-9AFB-4918-ABE5-2ABAA5B6E0E3}" dt="2019-11-21T10:17:06.223" v="4114" actId="1035"/>
          <ac:spMkLst>
            <pc:docMk/>
            <pc:sldMk cId="1408741597" sldId="784"/>
            <ac:spMk id="62" creationId="{37FC8A18-4F98-4566-A7FA-F13AFFEA411A}"/>
          </ac:spMkLst>
        </pc:spChg>
        <pc:spChg chg="add mod">
          <ac:chgData name="Mittermeier, Stefan" userId="94945143-6bbb-4fc1-b6eb-0ddcd12e4481" providerId="ADAL" clId="{13517B7C-9AFB-4918-ABE5-2ABAA5B6E0E3}" dt="2019-11-21T10:17:06.223" v="4114" actId="1035"/>
          <ac:spMkLst>
            <pc:docMk/>
            <pc:sldMk cId="1408741597" sldId="784"/>
            <ac:spMk id="63" creationId="{50BBF7AE-4DA9-4353-A2D4-98C1DC517B50}"/>
          </ac:spMkLst>
        </pc:spChg>
        <pc:spChg chg="add del mod">
          <ac:chgData name="Mittermeier, Stefan" userId="94945143-6bbb-4fc1-b6eb-0ddcd12e4481" providerId="ADAL" clId="{13517B7C-9AFB-4918-ABE5-2ABAA5B6E0E3}" dt="2019-11-20T10:28:45.904" v="1716" actId="478"/>
          <ac:spMkLst>
            <pc:docMk/>
            <pc:sldMk cId="1408741597" sldId="784"/>
            <ac:spMk id="64" creationId="{B9D9F460-E826-4049-B3FD-84C0680F294D}"/>
          </ac:spMkLst>
        </pc:spChg>
        <pc:spChg chg="mod">
          <ac:chgData name="Mittermeier, Stefan" userId="94945143-6bbb-4fc1-b6eb-0ddcd12e4481" providerId="ADAL" clId="{13517B7C-9AFB-4918-ABE5-2ABAA5B6E0E3}" dt="2019-12-03T08:17:39.186" v="4716" actId="20577"/>
          <ac:spMkLst>
            <pc:docMk/>
            <pc:sldMk cId="1408741597" sldId="784"/>
            <ac:spMk id="65" creationId="{B8B8CBD6-3B3C-4CED-8A92-C610AF0AF67E}"/>
          </ac:spMkLst>
        </pc:spChg>
        <pc:spChg chg="del">
          <ac:chgData name="Mittermeier, Stefan" userId="94945143-6bbb-4fc1-b6eb-0ddcd12e4481" providerId="ADAL" clId="{13517B7C-9AFB-4918-ABE5-2ABAA5B6E0E3}" dt="2019-11-20T09:48:08.900" v="1452" actId="478"/>
          <ac:spMkLst>
            <pc:docMk/>
            <pc:sldMk cId="1408741597" sldId="784"/>
            <ac:spMk id="65" creationId="{C9A34C59-2586-41E0-BCEB-47AFFB0C2883}"/>
          </ac:spMkLst>
        </pc:spChg>
        <pc:spChg chg="add del mod">
          <ac:chgData name="Mittermeier, Stefan" userId="94945143-6bbb-4fc1-b6eb-0ddcd12e4481" providerId="ADAL" clId="{13517B7C-9AFB-4918-ABE5-2ABAA5B6E0E3}" dt="2019-11-20T10:28:45.904" v="1716" actId="478"/>
          <ac:spMkLst>
            <pc:docMk/>
            <pc:sldMk cId="1408741597" sldId="784"/>
            <ac:spMk id="66" creationId="{6C692E87-F400-4935-804F-41F571B85DEB}"/>
          </ac:spMkLst>
        </pc:spChg>
        <pc:spChg chg="del">
          <ac:chgData name="Mittermeier, Stefan" userId="94945143-6bbb-4fc1-b6eb-0ddcd12e4481" providerId="ADAL" clId="{13517B7C-9AFB-4918-ABE5-2ABAA5B6E0E3}" dt="2019-11-20T09:48:08.900" v="1452" actId="478"/>
          <ac:spMkLst>
            <pc:docMk/>
            <pc:sldMk cId="1408741597" sldId="784"/>
            <ac:spMk id="67" creationId="{EECB7D97-6B67-4B7A-BCA9-5A125911B69F}"/>
          </ac:spMkLst>
        </pc:spChg>
        <pc:spChg chg="del">
          <ac:chgData name="Mittermeier, Stefan" userId="94945143-6bbb-4fc1-b6eb-0ddcd12e4481" providerId="ADAL" clId="{13517B7C-9AFB-4918-ABE5-2ABAA5B6E0E3}" dt="2019-11-20T09:48:08.900" v="1452" actId="478"/>
          <ac:spMkLst>
            <pc:docMk/>
            <pc:sldMk cId="1408741597" sldId="784"/>
            <ac:spMk id="68" creationId="{25E35362-CFA2-4244-A214-1E629AC53C24}"/>
          </ac:spMkLst>
        </pc:spChg>
        <pc:spChg chg="add del mod">
          <ac:chgData name="Mittermeier, Stefan" userId="94945143-6bbb-4fc1-b6eb-0ddcd12e4481" providerId="ADAL" clId="{13517B7C-9AFB-4918-ABE5-2ABAA5B6E0E3}" dt="2019-11-20T10:28:45.904" v="1716" actId="478"/>
          <ac:spMkLst>
            <pc:docMk/>
            <pc:sldMk cId="1408741597" sldId="784"/>
            <ac:spMk id="69" creationId="{C23CBF6B-1C2E-4053-8188-6EB214767770}"/>
          </ac:spMkLst>
        </pc:spChg>
        <pc:spChg chg="add del mod">
          <ac:chgData name="Mittermeier, Stefan" userId="94945143-6bbb-4fc1-b6eb-0ddcd12e4481" providerId="ADAL" clId="{13517B7C-9AFB-4918-ABE5-2ABAA5B6E0E3}" dt="2019-11-20T10:32:35.187" v="1856" actId="478"/>
          <ac:spMkLst>
            <pc:docMk/>
            <pc:sldMk cId="1408741597" sldId="784"/>
            <ac:spMk id="70" creationId="{F0B93938-599E-49F6-8BFB-43EE1C911FD1}"/>
          </ac:spMkLst>
        </pc:spChg>
        <pc:spChg chg="add del mod">
          <ac:chgData name="Mittermeier, Stefan" userId="94945143-6bbb-4fc1-b6eb-0ddcd12e4481" providerId="ADAL" clId="{13517B7C-9AFB-4918-ABE5-2ABAA5B6E0E3}" dt="2019-11-20T10:32:35.187" v="1856" actId="478"/>
          <ac:spMkLst>
            <pc:docMk/>
            <pc:sldMk cId="1408741597" sldId="784"/>
            <ac:spMk id="71" creationId="{9F89D3CF-2DB8-4578-BE04-F065849C22DE}"/>
          </ac:spMkLst>
        </pc:spChg>
        <pc:spChg chg="add del mod">
          <ac:chgData name="Mittermeier, Stefan" userId="94945143-6bbb-4fc1-b6eb-0ddcd12e4481" providerId="ADAL" clId="{13517B7C-9AFB-4918-ABE5-2ABAA5B6E0E3}" dt="2019-11-20T12:40:34.525" v="2867" actId="478"/>
          <ac:spMkLst>
            <pc:docMk/>
            <pc:sldMk cId="1408741597" sldId="784"/>
            <ac:spMk id="72" creationId="{D5E0FEDA-3DFD-4C06-AFF5-46E46F4A3511}"/>
          </ac:spMkLst>
        </pc:spChg>
        <pc:spChg chg="add del mod">
          <ac:chgData name="Mittermeier, Stefan" userId="94945143-6bbb-4fc1-b6eb-0ddcd12e4481" providerId="ADAL" clId="{13517B7C-9AFB-4918-ABE5-2ABAA5B6E0E3}" dt="2019-11-20T12:40:34.525" v="2867" actId="478"/>
          <ac:spMkLst>
            <pc:docMk/>
            <pc:sldMk cId="1408741597" sldId="784"/>
            <ac:spMk id="73" creationId="{B2390BD6-DC35-404B-8960-4E338E1A3EBB}"/>
          </ac:spMkLst>
        </pc:spChg>
        <pc:spChg chg="add del mod">
          <ac:chgData name="Mittermeier, Stefan" userId="94945143-6bbb-4fc1-b6eb-0ddcd12e4481" providerId="ADAL" clId="{13517B7C-9AFB-4918-ABE5-2ABAA5B6E0E3}" dt="2019-11-20T12:40:34.525" v="2867" actId="478"/>
          <ac:spMkLst>
            <pc:docMk/>
            <pc:sldMk cId="1408741597" sldId="784"/>
            <ac:spMk id="74" creationId="{1A2C3517-1B4F-4F96-884C-206B6905F4CE}"/>
          </ac:spMkLst>
        </pc:spChg>
        <pc:spChg chg="add del mod">
          <ac:chgData name="Mittermeier, Stefan" userId="94945143-6bbb-4fc1-b6eb-0ddcd12e4481" providerId="ADAL" clId="{13517B7C-9AFB-4918-ABE5-2ABAA5B6E0E3}" dt="2019-11-20T10:32:35.187" v="1856" actId="478"/>
          <ac:spMkLst>
            <pc:docMk/>
            <pc:sldMk cId="1408741597" sldId="784"/>
            <ac:spMk id="75" creationId="{F4D223B9-9B20-4896-9025-45C4802956F2}"/>
          </ac:spMkLst>
        </pc:spChg>
        <pc:spChg chg="add del mod">
          <ac:chgData name="Mittermeier, Stefan" userId="94945143-6bbb-4fc1-b6eb-0ddcd12e4481" providerId="ADAL" clId="{13517B7C-9AFB-4918-ABE5-2ABAA5B6E0E3}" dt="2019-11-20T11:00:16.034" v="2393" actId="478"/>
          <ac:spMkLst>
            <pc:docMk/>
            <pc:sldMk cId="1408741597" sldId="784"/>
            <ac:spMk id="76" creationId="{433D1EAE-B48A-4A28-BC75-21A522433FC3}"/>
          </ac:spMkLst>
        </pc:spChg>
        <pc:spChg chg="add mod ord">
          <ac:chgData name="Mittermeier, Stefan" userId="94945143-6bbb-4fc1-b6eb-0ddcd12e4481" providerId="ADAL" clId="{13517B7C-9AFB-4918-ABE5-2ABAA5B6E0E3}" dt="2019-11-20T10:32:13.402" v="1853" actId="164"/>
          <ac:spMkLst>
            <pc:docMk/>
            <pc:sldMk cId="1408741597" sldId="784"/>
            <ac:spMk id="77" creationId="{AC94D879-C712-4E15-AF4A-0FE8F106B964}"/>
          </ac:spMkLst>
        </pc:spChg>
        <pc:spChg chg="add mod ord">
          <ac:chgData name="Mittermeier, Stefan" userId="94945143-6bbb-4fc1-b6eb-0ddcd12e4481" providerId="ADAL" clId="{13517B7C-9AFB-4918-ABE5-2ABAA5B6E0E3}" dt="2019-11-20T10:32:13.402" v="1853" actId="164"/>
          <ac:spMkLst>
            <pc:docMk/>
            <pc:sldMk cId="1408741597" sldId="784"/>
            <ac:spMk id="78" creationId="{3B58ACE0-65BD-41CD-B5CE-4C51AF474EAA}"/>
          </ac:spMkLst>
        </pc:spChg>
        <pc:spChg chg="add mod">
          <ac:chgData name="Mittermeier, Stefan" userId="94945143-6bbb-4fc1-b6eb-0ddcd12e4481" providerId="ADAL" clId="{13517B7C-9AFB-4918-ABE5-2ABAA5B6E0E3}" dt="2019-11-20T10:32:13.402" v="1853" actId="164"/>
          <ac:spMkLst>
            <pc:docMk/>
            <pc:sldMk cId="1408741597" sldId="784"/>
            <ac:spMk id="79" creationId="{39DEA7B3-C736-47CE-BE4F-EDB96D2F7534}"/>
          </ac:spMkLst>
        </pc:spChg>
        <pc:spChg chg="mod">
          <ac:chgData name="Mittermeier, Stefan" userId="94945143-6bbb-4fc1-b6eb-0ddcd12e4481" providerId="ADAL" clId="{13517B7C-9AFB-4918-ABE5-2ABAA5B6E0E3}" dt="2019-11-20T10:35:19.482" v="2017" actId="14100"/>
          <ac:spMkLst>
            <pc:docMk/>
            <pc:sldMk cId="1408741597" sldId="784"/>
            <ac:spMk id="90" creationId="{BF505579-7A98-43A6-A93F-7C069D655F05}"/>
          </ac:spMkLst>
        </pc:spChg>
        <pc:spChg chg="add mod">
          <ac:chgData name="Mittermeier, Stefan" userId="94945143-6bbb-4fc1-b6eb-0ddcd12e4481" providerId="ADAL" clId="{13517B7C-9AFB-4918-ABE5-2ABAA5B6E0E3}" dt="2019-11-20T10:43:18.208" v="2079" actId="164"/>
          <ac:spMkLst>
            <pc:docMk/>
            <pc:sldMk cId="1408741597" sldId="784"/>
            <ac:spMk id="93" creationId="{F8CBFD1B-5C69-4890-92BD-5322E6E7151D}"/>
          </ac:spMkLst>
        </pc:spChg>
        <pc:spChg chg="add del mod">
          <ac:chgData name="Mittermeier, Stefan" userId="94945143-6bbb-4fc1-b6eb-0ddcd12e4481" providerId="ADAL" clId="{13517B7C-9AFB-4918-ABE5-2ABAA5B6E0E3}" dt="2019-11-20T12:17:53.211" v="2524" actId="478"/>
          <ac:spMkLst>
            <pc:docMk/>
            <pc:sldMk cId="1408741597" sldId="784"/>
            <ac:spMk id="94" creationId="{6358516E-702B-48F3-B1E0-B172984E36EA}"/>
          </ac:spMkLst>
        </pc:spChg>
        <pc:spChg chg="add del mod">
          <ac:chgData name="Mittermeier, Stefan" userId="94945143-6bbb-4fc1-b6eb-0ddcd12e4481" providerId="ADAL" clId="{13517B7C-9AFB-4918-ABE5-2ABAA5B6E0E3}" dt="2019-11-20T12:17:53.211" v="2524" actId="478"/>
          <ac:spMkLst>
            <pc:docMk/>
            <pc:sldMk cId="1408741597" sldId="784"/>
            <ac:spMk id="95" creationId="{CF43E111-F042-466E-9738-2ED36A6ABB56}"/>
          </ac:spMkLst>
        </pc:spChg>
        <pc:spChg chg="add del mod">
          <ac:chgData name="Mittermeier, Stefan" userId="94945143-6bbb-4fc1-b6eb-0ddcd12e4481" providerId="ADAL" clId="{13517B7C-9AFB-4918-ABE5-2ABAA5B6E0E3}" dt="2019-11-20T11:03:00.053" v="2454" actId="478"/>
          <ac:spMkLst>
            <pc:docMk/>
            <pc:sldMk cId="1408741597" sldId="784"/>
            <ac:spMk id="96" creationId="{D1F47401-B7B3-40A2-BB62-6F2BB84386F2}"/>
          </ac:spMkLst>
        </pc:spChg>
        <pc:spChg chg="add del mod">
          <ac:chgData name="Mittermeier, Stefan" userId="94945143-6bbb-4fc1-b6eb-0ddcd12e4481" providerId="ADAL" clId="{13517B7C-9AFB-4918-ABE5-2ABAA5B6E0E3}" dt="2019-11-20T12:40:34.525" v="2867" actId="478"/>
          <ac:spMkLst>
            <pc:docMk/>
            <pc:sldMk cId="1408741597" sldId="784"/>
            <ac:spMk id="97" creationId="{6CAF6D29-EBEA-43DB-BEDC-F6D6BCACB372}"/>
          </ac:spMkLst>
        </pc:spChg>
        <pc:spChg chg="add del mod">
          <ac:chgData name="Mittermeier, Stefan" userId="94945143-6bbb-4fc1-b6eb-0ddcd12e4481" providerId="ADAL" clId="{13517B7C-9AFB-4918-ABE5-2ABAA5B6E0E3}" dt="2019-11-20T12:17:57.338" v="2525" actId="478"/>
          <ac:spMkLst>
            <pc:docMk/>
            <pc:sldMk cId="1408741597" sldId="784"/>
            <ac:spMk id="125" creationId="{454DC800-471D-4DB6-9298-68BDFD96C5DF}"/>
          </ac:spMkLst>
        </pc:spChg>
        <pc:spChg chg="add del mod">
          <ac:chgData name="Mittermeier, Stefan" userId="94945143-6bbb-4fc1-b6eb-0ddcd12e4481" providerId="ADAL" clId="{13517B7C-9AFB-4918-ABE5-2ABAA5B6E0E3}" dt="2019-11-20T10:51:26.965" v="2240" actId="478"/>
          <ac:spMkLst>
            <pc:docMk/>
            <pc:sldMk cId="1408741597" sldId="784"/>
            <ac:spMk id="126" creationId="{16EE68E4-2688-4691-9942-5A9527602554}"/>
          </ac:spMkLst>
        </pc:spChg>
        <pc:spChg chg="add del mod">
          <ac:chgData name="Mittermeier, Stefan" userId="94945143-6bbb-4fc1-b6eb-0ddcd12e4481" providerId="ADAL" clId="{13517B7C-9AFB-4918-ABE5-2ABAA5B6E0E3}" dt="2019-11-20T10:46:56.172" v="2191" actId="478"/>
          <ac:spMkLst>
            <pc:docMk/>
            <pc:sldMk cId="1408741597" sldId="784"/>
            <ac:spMk id="127" creationId="{E1CD3925-2029-4EAC-B58E-386D598604D3}"/>
          </ac:spMkLst>
        </pc:spChg>
        <pc:spChg chg="add del mod">
          <ac:chgData name="Mittermeier, Stefan" userId="94945143-6bbb-4fc1-b6eb-0ddcd12e4481" providerId="ADAL" clId="{13517B7C-9AFB-4918-ABE5-2ABAA5B6E0E3}" dt="2019-11-20T10:48:39.674" v="2209" actId="478"/>
          <ac:spMkLst>
            <pc:docMk/>
            <pc:sldMk cId="1408741597" sldId="784"/>
            <ac:spMk id="128" creationId="{883E2107-8DB0-46DD-9CA3-4A393B0EF70C}"/>
          </ac:spMkLst>
        </pc:spChg>
        <pc:spChg chg="add del mod">
          <ac:chgData name="Mittermeier, Stefan" userId="94945143-6bbb-4fc1-b6eb-0ddcd12e4481" providerId="ADAL" clId="{13517B7C-9AFB-4918-ABE5-2ABAA5B6E0E3}" dt="2019-11-20T11:03:20.723" v="2458" actId="478"/>
          <ac:spMkLst>
            <pc:docMk/>
            <pc:sldMk cId="1408741597" sldId="784"/>
            <ac:spMk id="139" creationId="{DC89FEE2-6104-453C-A03B-48E66EFEB58E}"/>
          </ac:spMkLst>
        </pc:spChg>
        <pc:spChg chg="add mod">
          <ac:chgData name="Mittermeier, Stefan" userId="94945143-6bbb-4fc1-b6eb-0ddcd12e4481" providerId="ADAL" clId="{13517B7C-9AFB-4918-ABE5-2ABAA5B6E0E3}" dt="2019-11-21T10:17:06.223" v="4114" actId="1035"/>
          <ac:spMkLst>
            <pc:docMk/>
            <pc:sldMk cId="1408741597" sldId="784"/>
            <ac:spMk id="144" creationId="{14CE986A-39C3-4AE5-9BFB-B7AA87A3CA22}"/>
          </ac:spMkLst>
        </pc:spChg>
        <pc:spChg chg="add del mod">
          <ac:chgData name="Mittermeier, Stefan" userId="94945143-6bbb-4fc1-b6eb-0ddcd12e4481" providerId="ADAL" clId="{13517B7C-9AFB-4918-ABE5-2ABAA5B6E0E3}" dt="2019-11-20T12:17:53.211" v="2524" actId="478"/>
          <ac:spMkLst>
            <pc:docMk/>
            <pc:sldMk cId="1408741597" sldId="784"/>
            <ac:spMk id="147" creationId="{4160962C-3253-4FE2-8B23-99E8744BF140}"/>
          </ac:spMkLst>
        </pc:spChg>
        <pc:spChg chg="add del mod">
          <ac:chgData name="Mittermeier, Stefan" userId="94945143-6bbb-4fc1-b6eb-0ddcd12e4481" providerId="ADAL" clId="{13517B7C-9AFB-4918-ABE5-2ABAA5B6E0E3}" dt="2019-11-20T12:40:34.525" v="2867" actId="478"/>
          <ac:spMkLst>
            <pc:docMk/>
            <pc:sldMk cId="1408741597" sldId="784"/>
            <ac:spMk id="148" creationId="{0B481DC7-E936-4AC8-A840-658127DEEA34}"/>
          </ac:spMkLst>
        </pc:spChg>
        <pc:spChg chg="add mod">
          <ac:chgData name="Mittermeier, Stefan" userId="94945143-6bbb-4fc1-b6eb-0ddcd12e4481" providerId="ADAL" clId="{13517B7C-9AFB-4918-ABE5-2ABAA5B6E0E3}" dt="2019-11-21T10:17:06.223" v="4114" actId="1035"/>
          <ac:spMkLst>
            <pc:docMk/>
            <pc:sldMk cId="1408741597" sldId="784"/>
            <ac:spMk id="167" creationId="{339E41C2-6719-4666-9D42-6CFA60F66369}"/>
          </ac:spMkLst>
        </pc:spChg>
        <pc:spChg chg="add mod">
          <ac:chgData name="Mittermeier, Stefan" userId="94945143-6bbb-4fc1-b6eb-0ddcd12e4481" providerId="ADAL" clId="{13517B7C-9AFB-4918-ABE5-2ABAA5B6E0E3}" dt="2019-11-21T10:17:06.223" v="4114" actId="1035"/>
          <ac:spMkLst>
            <pc:docMk/>
            <pc:sldMk cId="1408741597" sldId="784"/>
            <ac:spMk id="168" creationId="{7BFF62D5-645D-45A2-B649-B72834D840CC}"/>
          </ac:spMkLst>
        </pc:spChg>
        <pc:spChg chg="add del">
          <ac:chgData name="Mittermeier, Stefan" userId="94945143-6bbb-4fc1-b6eb-0ddcd12e4481" providerId="ADAL" clId="{13517B7C-9AFB-4918-ABE5-2ABAA5B6E0E3}" dt="2019-11-20T12:18:48.905" v="2535" actId="478"/>
          <ac:spMkLst>
            <pc:docMk/>
            <pc:sldMk cId="1408741597" sldId="784"/>
            <ac:spMk id="169" creationId="{82EB28A0-A2A5-4F3A-A5A4-AB3493A77673}"/>
          </ac:spMkLst>
        </pc:spChg>
        <pc:spChg chg="add del">
          <ac:chgData name="Mittermeier, Stefan" userId="94945143-6bbb-4fc1-b6eb-0ddcd12e4481" providerId="ADAL" clId="{13517B7C-9AFB-4918-ABE5-2ABAA5B6E0E3}" dt="2019-11-20T12:18:52.491" v="2537" actId="478"/>
          <ac:spMkLst>
            <pc:docMk/>
            <pc:sldMk cId="1408741597" sldId="784"/>
            <ac:spMk id="170" creationId="{92BBF00C-2DC7-4876-97B8-F7E3477C9B13}"/>
          </ac:spMkLst>
        </pc:spChg>
        <pc:spChg chg="add del">
          <ac:chgData name="Mittermeier, Stefan" userId="94945143-6bbb-4fc1-b6eb-0ddcd12e4481" providerId="ADAL" clId="{13517B7C-9AFB-4918-ABE5-2ABAA5B6E0E3}" dt="2019-11-20T12:18:50.959" v="2536" actId="478"/>
          <ac:spMkLst>
            <pc:docMk/>
            <pc:sldMk cId="1408741597" sldId="784"/>
            <ac:spMk id="171" creationId="{2DE5BC1B-1B98-430E-944C-708612C7F9CA}"/>
          </ac:spMkLst>
        </pc:spChg>
        <pc:spChg chg="add del mod">
          <ac:chgData name="Mittermeier, Stefan" userId="94945143-6bbb-4fc1-b6eb-0ddcd12e4481" providerId="ADAL" clId="{13517B7C-9AFB-4918-ABE5-2ABAA5B6E0E3}" dt="2019-11-20T15:03:47.078" v="3225" actId="478"/>
          <ac:spMkLst>
            <pc:docMk/>
            <pc:sldMk cId="1408741597" sldId="784"/>
            <ac:spMk id="174" creationId="{38638185-5805-4ABF-9341-8E9370D62ED7}"/>
          </ac:spMkLst>
        </pc:spChg>
        <pc:spChg chg="add del">
          <ac:chgData name="Mittermeier, Stefan" userId="94945143-6bbb-4fc1-b6eb-0ddcd12e4481" providerId="ADAL" clId="{13517B7C-9AFB-4918-ABE5-2ABAA5B6E0E3}" dt="2019-11-20T12:24:57.765" v="2550" actId="478"/>
          <ac:spMkLst>
            <pc:docMk/>
            <pc:sldMk cId="1408741597" sldId="784"/>
            <ac:spMk id="175" creationId="{49997864-0FCE-4CAD-B411-B7BB21D11C38}"/>
          </ac:spMkLst>
        </pc:spChg>
        <pc:spChg chg="add del mod">
          <ac:chgData name="Mittermeier, Stefan" userId="94945143-6bbb-4fc1-b6eb-0ddcd12e4481" providerId="ADAL" clId="{13517B7C-9AFB-4918-ABE5-2ABAA5B6E0E3}" dt="2019-11-20T12:26:11.812" v="2575" actId="478"/>
          <ac:spMkLst>
            <pc:docMk/>
            <pc:sldMk cId="1408741597" sldId="784"/>
            <ac:spMk id="176" creationId="{27F7A2FF-2220-44B2-8E99-571F355FF089}"/>
          </ac:spMkLst>
        </pc:spChg>
        <pc:spChg chg="add mod">
          <ac:chgData name="Mittermeier, Stefan" userId="94945143-6bbb-4fc1-b6eb-0ddcd12e4481" providerId="ADAL" clId="{13517B7C-9AFB-4918-ABE5-2ABAA5B6E0E3}" dt="2019-11-20T12:35:14.530" v="2837" actId="164"/>
          <ac:spMkLst>
            <pc:docMk/>
            <pc:sldMk cId="1408741597" sldId="784"/>
            <ac:spMk id="177" creationId="{81DB0C35-BAE6-4273-A014-6151E90DAE48}"/>
          </ac:spMkLst>
        </pc:spChg>
        <pc:spChg chg="add del mod">
          <ac:chgData name="Mittermeier, Stefan" userId="94945143-6bbb-4fc1-b6eb-0ddcd12e4481" providerId="ADAL" clId="{13517B7C-9AFB-4918-ABE5-2ABAA5B6E0E3}" dt="2019-11-21T10:16:10.555" v="3990" actId="478"/>
          <ac:spMkLst>
            <pc:docMk/>
            <pc:sldMk cId="1408741597" sldId="784"/>
            <ac:spMk id="178" creationId="{07C90772-312A-4F2E-A74C-155017043376}"/>
          </ac:spMkLst>
        </pc:spChg>
        <pc:spChg chg="add mod ord">
          <ac:chgData name="Mittermeier, Stefan" userId="94945143-6bbb-4fc1-b6eb-0ddcd12e4481" providerId="ADAL" clId="{13517B7C-9AFB-4918-ABE5-2ABAA5B6E0E3}" dt="2019-11-20T12:32:35.813" v="2697" actId="164"/>
          <ac:spMkLst>
            <pc:docMk/>
            <pc:sldMk cId="1408741597" sldId="784"/>
            <ac:spMk id="180" creationId="{DC680CAB-03E7-4482-A059-F9336BDDF751}"/>
          </ac:spMkLst>
        </pc:spChg>
        <pc:spChg chg="add mod">
          <ac:chgData name="Mittermeier, Stefan" userId="94945143-6bbb-4fc1-b6eb-0ddcd12e4481" providerId="ADAL" clId="{13517B7C-9AFB-4918-ABE5-2ABAA5B6E0E3}" dt="2019-11-20T12:32:35.813" v="2697" actId="164"/>
          <ac:spMkLst>
            <pc:docMk/>
            <pc:sldMk cId="1408741597" sldId="784"/>
            <ac:spMk id="182" creationId="{87FAF895-032A-48E7-8ECF-C52E6FBC340B}"/>
          </ac:spMkLst>
        </pc:spChg>
        <pc:spChg chg="add mod">
          <ac:chgData name="Mittermeier, Stefan" userId="94945143-6bbb-4fc1-b6eb-0ddcd12e4481" providerId="ADAL" clId="{13517B7C-9AFB-4918-ABE5-2ABAA5B6E0E3}" dt="2019-11-21T10:17:06.223" v="4114" actId="1035"/>
          <ac:spMkLst>
            <pc:docMk/>
            <pc:sldMk cId="1408741597" sldId="784"/>
            <ac:spMk id="196" creationId="{5D2F274B-9DD0-44F1-A9AC-99BC159AE18D}"/>
          </ac:spMkLst>
        </pc:spChg>
        <pc:spChg chg="add mod ord">
          <ac:chgData name="Mittermeier, Stefan" userId="94945143-6bbb-4fc1-b6eb-0ddcd12e4481" providerId="ADAL" clId="{13517B7C-9AFB-4918-ABE5-2ABAA5B6E0E3}" dt="2019-11-21T10:17:06.223" v="4114" actId="1035"/>
          <ac:spMkLst>
            <pc:docMk/>
            <pc:sldMk cId="1408741597" sldId="784"/>
            <ac:spMk id="197" creationId="{EB61AA5E-43F7-49EC-A2A3-6C91EEE5F19D}"/>
          </ac:spMkLst>
        </pc:spChg>
        <pc:spChg chg="add mod">
          <ac:chgData name="Mittermeier, Stefan" userId="94945143-6bbb-4fc1-b6eb-0ddcd12e4481" providerId="ADAL" clId="{13517B7C-9AFB-4918-ABE5-2ABAA5B6E0E3}" dt="2019-11-21T10:17:06.223" v="4114" actId="1035"/>
          <ac:spMkLst>
            <pc:docMk/>
            <pc:sldMk cId="1408741597" sldId="784"/>
            <ac:spMk id="198" creationId="{8A59AA09-EA59-4A84-AF43-19A308F642EE}"/>
          </ac:spMkLst>
        </pc:spChg>
        <pc:spChg chg="add mod">
          <ac:chgData name="Mittermeier, Stefan" userId="94945143-6bbb-4fc1-b6eb-0ddcd12e4481" providerId="ADAL" clId="{13517B7C-9AFB-4918-ABE5-2ABAA5B6E0E3}" dt="2019-11-21T10:17:06.223" v="4114" actId="1035"/>
          <ac:spMkLst>
            <pc:docMk/>
            <pc:sldMk cId="1408741597" sldId="784"/>
            <ac:spMk id="199" creationId="{C74F52BB-BA57-4F1B-AAFB-FA49247A0E4E}"/>
          </ac:spMkLst>
        </pc:spChg>
        <pc:spChg chg="add mod">
          <ac:chgData name="Mittermeier, Stefan" userId="94945143-6bbb-4fc1-b6eb-0ddcd12e4481" providerId="ADAL" clId="{13517B7C-9AFB-4918-ABE5-2ABAA5B6E0E3}" dt="2019-11-21T10:17:06.223" v="4114" actId="1035"/>
          <ac:spMkLst>
            <pc:docMk/>
            <pc:sldMk cId="1408741597" sldId="784"/>
            <ac:spMk id="200" creationId="{E0985334-97DB-4829-81BB-BB885B7FE5C0}"/>
          </ac:spMkLst>
        </pc:spChg>
        <pc:spChg chg="add mod">
          <ac:chgData name="Mittermeier, Stefan" userId="94945143-6bbb-4fc1-b6eb-0ddcd12e4481" providerId="ADAL" clId="{13517B7C-9AFB-4918-ABE5-2ABAA5B6E0E3}" dt="2019-11-21T10:17:06.223" v="4114" actId="1035"/>
          <ac:spMkLst>
            <pc:docMk/>
            <pc:sldMk cId="1408741597" sldId="784"/>
            <ac:spMk id="202" creationId="{00908F2B-10D5-4992-8BF5-A7E2C3D2B9F0}"/>
          </ac:spMkLst>
        </pc:spChg>
        <pc:spChg chg="add del mod">
          <ac:chgData name="Mittermeier, Stefan" userId="94945143-6bbb-4fc1-b6eb-0ddcd12e4481" providerId="ADAL" clId="{13517B7C-9AFB-4918-ABE5-2ABAA5B6E0E3}" dt="2019-11-20T13:01:34.848" v="3140" actId="478"/>
          <ac:spMkLst>
            <pc:docMk/>
            <pc:sldMk cId="1408741597" sldId="784"/>
            <ac:spMk id="206" creationId="{D3C9F5F5-5CC6-4AD1-80C8-0B46E2015CB2}"/>
          </ac:spMkLst>
        </pc:spChg>
        <pc:spChg chg="add del mod">
          <ac:chgData name="Mittermeier, Stefan" userId="94945143-6bbb-4fc1-b6eb-0ddcd12e4481" providerId="ADAL" clId="{13517B7C-9AFB-4918-ABE5-2ABAA5B6E0E3}" dt="2019-11-20T13:01:34.200" v="3139" actId="478"/>
          <ac:spMkLst>
            <pc:docMk/>
            <pc:sldMk cId="1408741597" sldId="784"/>
            <ac:spMk id="207" creationId="{589C4054-1A48-473D-8463-C77573FAE5FD}"/>
          </ac:spMkLst>
        </pc:spChg>
        <pc:spChg chg="add del mod">
          <ac:chgData name="Mittermeier, Stefan" userId="94945143-6bbb-4fc1-b6eb-0ddcd12e4481" providerId="ADAL" clId="{13517B7C-9AFB-4918-ABE5-2ABAA5B6E0E3}" dt="2019-11-21T10:16:13.176" v="3991" actId="478"/>
          <ac:spMkLst>
            <pc:docMk/>
            <pc:sldMk cId="1408741597" sldId="784"/>
            <ac:spMk id="208" creationId="{2D49896F-3F05-4CEC-9695-F9D86EE81C5A}"/>
          </ac:spMkLst>
        </pc:spChg>
        <pc:spChg chg="add mod">
          <ac:chgData name="Mittermeier, Stefan" userId="94945143-6bbb-4fc1-b6eb-0ddcd12e4481" providerId="ADAL" clId="{13517B7C-9AFB-4918-ABE5-2ABAA5B6E0E3}" dt="2019-11-21T10:17:06.223" v="4114" actId="1035"/>
          <ac:spMkLst>
            <pc:docMk/>
            <pc:sldMk cId="1408741597" sldId="784"/>
            <ac:spMk id="209" creationId="{9C85A905-6F6B-47A7-947D-0E077248486C}"/>
          </ac:spMkLst>
        </pc:spChg>
        <pc:spChg chg="add mod">
          <ac:chgData name="Mittermeier, Stefan" userId="94945143-6bbb-4fc1-b6eb-0ddcd12e4481" providerId="ADAL" clId="{13517B7C-9AFB-4918-ABE5-2ABAA5B6E0E3}" dt="2019-11-21T10:17:06.223" v="4114" actId="1035"/>
          <ac:spMkLst>
            <pc:docMk/>
            <pc:sldMk cId="1408741597" sldId="784"/>
            <ac:spMk id="210" creationId="{4FB3F771-81B7-45D6-899D-6CE837407EF6}"/>
          </ac:spMkLst>
        </pc:spChg>
        <pc:spChg chg="add mod">
          <ac:chgData name="Mittermeier, Stefan" userId="94945143-6bbb-4fc1-b6eb-0ddcd12e4481" providerId="ADAL" clId="{13517B7C-9AFB-4918-ABE5-2ABAA5B6E0E3}" dt="2019-11-21T10:17:06.223" v="4114" actId="1035"/>
          <ac:spMkLst>
            <pc:docMk/>
            <pc:sldMk cId="1408741597" sldId="784"/>
            <ac:spMk id="211" creationId="{609ECA01-8494-4FED-A87D-6F4BA26C3F89}"/>
          </ac:spMkLst>
        </pc:spChg>
        <pc:spChg chg="add mod">
          <ac:chgData name="Mittermeier, Stefan" userId="94945143-6bbb-4fc1-b6eb-0ddcd12e4481" providerId="ADAL" clId="{13517B7C-9AFB-4918-ABE5-2ABAA5B6E0E3}" dt="2019-11-21T10:17:06.223" v="4114" actId="1035"/>
          <ac:spMkLst>
            <pc:docMk/>
            <pc:sldMk cId="1408741597" sldId="784"/>
            <ac:spMk id="226" creationId="{55F7C5E1-8D05-47CF-A5C3-FFB6C2082E39}"/>
          </ac:spMkLst>
        </pc:spChg>
        <pc:spChg chg="add mod">
          <ac:chgData name="Mittermeier, Stefan" userId="94945143-6bbb-4fc1-b6eb-0ddcd12e4481" providerId="ADAL" clId="{13517B7C-9AFB-4918-ABE5-2ABAA5B6E0E3}" dt="2019-11-21T10:17:06.223" v="4114" actId="1035"/>
          <ac:spMkLst>
            <pc:docMk/>
            <pc:sldMk cId="1408741597" sldId="784"/>
            <ac:spMk id="227" creationId="{25AF102A-1518-44AA-9721-99B49B409216}"/>
          </ac:spMkLst>
        </pc:spChg>
        <pc:spChg chg="add mod">
          <ac:chgData name="Mittermeier, Stefan" userId="94945143-6bbb-4fc1-b6eb-0ddcd12e4481" providerId="ADAL" clId="{13517B7C-9AFB-4918-ABE5-2ABAA5B6E0E3}" dt="2019-11-21T10:17:06.223" v="4114" actId="1035"/>
          <ac:spMkLst>
            <pc:docMk/>
            <pc:sldMk cId="1408741597" sldId="784"/>
            <ac:spMk id="228" creationId="{4968F648-0831-4FDD-BB20-E0DFB2FD8614}"/>
          </ac:spMkLst>
        </pc:spChg>
        <pc:spChg chg="mod">
          <ac:chgData name="Mittermeier, Stefan" userId="94945143-6bbb-4fc1-b6eb-0ddcd12e4481" providerId="ADAL" clId="{13517B7C-9AFB-4918-ABE5-2ABAA5B6E0E3}" dt="2019-11-20T12:50:58.454" v="3030" actId="207"/>
          <ac:spMkLst>
            <pc:docMk/>
            <pc:sldMk cId="1408741597" sldId="784"/>
            <ac:spMk id="230" creationId="{77B01151-33A8-4024-9EA9-1EF612187693}"/>
          </ac:spMkLst>
        </pc:spChg>
        <pc:spChg chg="mod">
          <ac:chgData name="Mittermeier, Stefan" userId="94945143-6bbb-4fc1-b6eb-0ddcd12e4481" providerId="ADAL" clId="{13517B7C-9AFB-4918-ABE5-2ABAA5B6E0E3}" dt="2019-11-20T12:52:09.845" v="3046" actId="207"/>
          <ac:spMkLst>
            <pc:docMk/>
            <pc:sldMk cId="1408741597" sldId="784"/>
            <ac:spMk id="231" creationId="{7F93C869-6BE8-430B-B8F2-C1C3390DEFB0}"/>
          </ac:spMkLst>
        </pc:spChg>
        <pc:spChg chg="mod">
          <ac:chgData name="Mittermeier, Stefan" userId="94945143-6bbb-4fc1-b6eb-0ddcd12e4481" providerId="ADAL" clId="{13517B7C-9AFB-4918-ABE5-2ABAA5B6E0E3}" dt="2019-11-20T12:52:12.538" v="3047" actId="207"/>
          <ac:spMkLst>
            <pc:docMk/>
            <pc:sldMk cId="1408741597" sldId="784"/>
            <ac:spMk id="234" creationId="{F5A4399D-558B-477B-AF50-84CDE2FD706F}"/>
          </ac:spMkLst>
        </pc:spChg>
        <pc:spChg chg="mod">
          <ac:chgData name="Mittermeier, Stefan" userId="94945143-6bbb-4fc1-b6eb-0ddcd12e4481" providerId="ADAL" clId="{13517B7C-9AFB-4918-ABE5-2ABAA5B6E0E3}" dt="2019-11-20T12:52:15.051" v="3048" actId="207"/>
          <ac:spMkLst>
            <pc:docMk/>
            <pc:sldMk cId="1408741597" sldId="784"/>
            <ac:spMk id="237" creationId="{56FA6CAB-2757-4B64-BEC1-8D45BA655212}"/>
          </ac:spMkLst>
        </pc:spChg>
        <pc:spChg chg="mod">
          <ac:chgData name="Mittermeier, Stefan" userId="94945143-6bbb-4fc1-b6eb-0ddcd12e4481" providerId="ADAL" clId="{13517B7C-9AFB-4918-ABE5-2ABAA5B6E0E3}" dt="2019-11-20T12:52:16.946" v="3049" actId="207"/>
          <ac:spMkLst>
            <pc:docMk/>
            <pc:sldMk cId="1408741597" sldId="784"/>
            <ac:spMk id="240" creationId="{E62D07A0-C895-4246-A926-B932513FAB62}"/>
          </ac:spMkLst>
        </pc:spChg>
        <pc:spChg chg="add del mod">
          <ac:chgData name="Mittermeier, Stefan" userId="94945143-6bbb-4fc1-b6eb-0ddcd12e4481" providerId="ADAL" clId="{13517B7C-9AFB-4918-ABE5-2ABAA5B6E0E3}" dt="2019-11-20T12:58:06.624" v="3131" actId="478"/>
          <ac:spMkLst>
            <pc:docMk/>
            <pc:sldMk cId="1408741597" sldId="784"/>
            <ac:spMk id="241" creationId="{E656DA3C-EE00-4151-9929-EEA89E8DDCC7}"/>
          </ac:spMkLst>
        </pc:spChg>
        <pc:spChg chg="add del mod">
          <ac:chgData name="Mittermeier, Stefan" userId="94945143-6bbb-4fc1-b6eb-0ddcd12e4481" providerId="ADAL" clId="{13517B7C-9AFB-4918-ABE5-2ABAA5B6E0E3}" dt="2019-11-20T12:53:01.801" v="3055" actId="478"/>
          <ac:spMkLst>
            <pc:docMk/>
            <pc:sldMk cId="1408741597" sldId="784"/>
            <ac:spMk id="242" creationId="{5C2703A2-F5BC-438C-9106-05E597C64B64}"/>
          </ac:spMkLst>
        </pc:spChg>
        <pc:spChg chg="add del mod">
          <ac:chgData name="Mittermeier, Stefan" userId="94945143-6bbb-4fc1-b6eb-0ddcd12e4481" providerId="ADAL" clId="{13517B7C-9AFB-4918-ABE5-2ABAA5B6E0E3}" dt="2019-11-20T15:03:47.078" v="3225" actId="478"/>
          <ac:spMkLst>
            <pc:docMk/>
            <pc:sldMk cId="1408741597" sldId="784"/>
            <ac:spMk id="243" creationId="{EC445800-63D4-4343-90A1-272A73757C81}"/>
          </ac:spMkLst>
        </pc:spChg>
        <pc:spChg chg="add del mod">
          <ac:chgData name="Mittermeier, Stefan" userId="94945143-6bbb-4fc1-b6eb-0ddcd12e4481" providerId="ADAL" clId="{13517B7C-9AFB-4918-ABE5-2ABAA5B6E0E3}" dt="2019-11-20T15:03:47.078" v="3225" actId="478"/>
          <ac:spMkLst>
            <pc:docMk/>
            <pc:sldMk cId="1408741597" sldId="784"/>
            <ac:spMk id="244" creationId="{0B221C10-5574-4543-BD7A-9DD957475058}"/>
          </ac:spMkLst>
        </pc:spChg>
        <pc:spChg chg="add del mod">
          <ac:chgData name="Mittermeier, Stefan" userId="94945143-6bbb-4fc1-b6eb-0ddcd12e4481" providerId="ADAL" clId="{13517B7C-9AFB-4918-ABE5-2ABAA5B6E0E3}" dt="2019-11-20T15:03:47.078" v="3225" actId="478"/>
          <ac:spMkLst>
            <pc:docMk/>
            <pc:sldMk cId="1408741597" sldId="784"/>
            <ac:spMk id="245" creationId="{406D18E8-5B6C-495D-8A5D-767292D627DC}"/>
          </ac:spMkLst>
        </pc:spChg>
        <pc:spChg chg="add del mod">
          <ac:chgData name="Mittermeier, Stefan" userId="94945143-6bbb-4fc1-b6eb-0ddcd12e4481" providerId="ADAL" clId="{13517B7C-9AFB-4918-ABE5-2ABAA5B6E0E3}" dt="2019-11-20T15:03:47.078" v="3225" actId="478"/>
          <ac:spMkLst>
            <pc:docMk/>
            <pc:sldMk cId="1408741597" sldId="784"/>
            <ac:spMk id="246" creationId="{308D9980-1FD3-452A-99EB-A621BCCB9FF5}"/>
          </ac:spMkLst>
        </pc:spChg>
        <pc:spChg chg="add del mod">
          <ac:chgData name="Mittermeier, Stefan" userId="94945143-6bbb-4fc1-b6eb-0ddcd12e4481" providerId="ADAL" clId="{13517B7C-9AFB-4918-ABE5-2ABAA5B6E0E3}" dt="2019-11-20T15:03:47.078" v="3225" actId="478"/>
          <ac:spMkLst>
            <pc:docMk/>
            <pc:sldMk cId="1408741597" sldId="784"/>
            <ac:spMk id="247" creationId="{68D8020F-C9DB-4F40-8EA9-8FA0B19533C1}"/>
          </ac:spMkLst>
        </pc:spChg>
        <pc:spChg chg="add del mod">
          <ac:chgData name="Mittermeier, Stefan" userId="94945143-6bbb-4fc1-b6eb-0ddcd12e4481" providerId="ADAL" clId="{13517B7C-9AFB-4918-ABE5-2ABAA5B6E0E3}" dt="2019-11-20T15:03:47.078" v="3225" actId="478"/>
          <ac:spMkLst>
            <pc:docMk/>
            <pc:sldMk cId="1408741597" sldId="784"/>
            <ac:spMk id="248" creationId="{17235CF9-81C3-4F22-9CE2-96DD2A8D45FE}"/>
          </ac:spMkLst>
        </pc:spChg>
        <pc:spChg chg="mod">
          <ac:chgData name="Mittermeier, Stefan" userId="94945143-6bbb-4fc1-b6eb-0ddcd12e4481" providerId="ADAL" clId="{13517B7C-9AFB-4918-ABE5-2ABAA5B6E0E3}" dt="2019-11-20T12:59:17.343" v="3138" actId="20577"/>
          <ac:spMkLst>
            <pc:docMk/>
            <pc:sldMk cId="1408741597" sldId="784"/>
            <ac:spMk id="251" creationId="{C66282C3-9B3D-4FE2-A53B-EAC1D95CBC81}"/>
          </ac:spMkLst>
        </pc:spChg>
        <pc:spChg chg="add mod ord">
          <ac:chgData name="Mittermeier, Stefan" userId="94945143-6bbb-4fc1-b6eb-0ddcd12e4481" providerId="ADAL" clId="{13517B7C-9AFB-4918-ABE5-2ABAA5B6E0E3}" dt="2019-11-21T10:17:06.223" v="4114" actId="1035"/>
          <ac:spMkLst>
            <pc:docMk/>
            <pc:sldMk cId="1408741597" sldId="784"/>
            <ac:spMk id="252" creationId="{29A436D2-47E6-4596-9D76-01AA4F1A0AC9}"/>
          </ac:spMkLst>
        </pc:spChg>
        <pc:spChg chg="add mod ord">
          <ac:chgData name="Mittermeier, Stefan" userId="94945143-6bbb-4fc1-b6eb-0ddcd12e4481" providerId="ADAL" clId="{13517B7C-9AFB-4918-ABE5-2ABAA5B6E0E3}" dt="2019-11-21T10:17:06.223" v="4114" actId="1035"/>
          <ac:spMkLst>
            <pc:docMk/>
            <pc:sldMk cId="1408741597" sldId="784"/>
            <ac:spMk id="253" creationId="{1A9D4B2B-8CC0-49D5-8BD0-54F58CA28EF8}"/>
          </ac:spMkLst>
        </pc:spChg>
        <pc:spChg chg="add mod ord">
          <ac:chgData name="Mittermeier, Stefan" userId="94945143-6bbb-4fc1-b6eb-0ddcd12e4481" providerId="ADAL" clId="{13517B7C-9AFB-4918-ABE5-2ABAA5B6E0E3}" dt="2019-11-21T10:17:06.223" v="4114" actId="1035"/>
          <ac:spMkLst>
            <pc:docMk/>
            <pc:sldMk cId="1408741597" sldId="784"/>
            <ac:spMk id="254" creationId="{CAB5AEDE-8FAF-4B3B-B6C0-3EEC90045BFD}"/>
          </ac:spMkLst>
        </pc:spChg>
        <pc:spChg chg="add mod ord">
          <ac:chgData name="Mittermeier, Stefan" userId="94945143-6bbb-4fc1-b6eb-0ddcd12e4481" providerId="ADAL" clId="{13517B7C-9AFB-4918-ABE5-2ABAA5B6E0E3}" dt="2019-11-21T10:17:06.223" v="4114" actId="1035"/>
          <ac:spMkLst>
            <pc:docMk/>
            <pc:sldMk cId="1408741597" sldId="784"/>
            <ac:spMk id="255" creationId="{6EA87FB0-59E6-4247-9153-E75CB544CA77}"/>
          </ac:spMkLst>
        </pc:spChg>
        <pc:spChg chg="add del">
          <ac:chgData name="Mittermeier, Stefan" userId="94945143-6bbb-4fc1-b6eb-0ddcd12e4481" providerId="ADAL" clId="{13517B7C-9AFB-4918-ABE5-2ABAA5B6E0E3}" dt="2019-11-20T13:09:06.828" v="3182" actId="478"/>
          <ac:spMkLst>
            <pc:docMk/>
            <pc:sldMk cId="1408741597" sldId="784"/>
            <ac:spMk id="259" creationId="{FAA1AC54-F251-4097-A62F-97ECCF085AF4}"/>
          </ac:spMkLst>
        </pc:spChg>
        <pc:spChg chg="add mod">
          <ac:chgData name="Mittermeier, Stefan" userId="94945143-6bbb-4fc1-b6eb-0ddcd12e4481" providerId="ADAL" clId="{13517B7C-9AFB-4918-ABE5-2ABAA5B6E0E3}" dt="2019-11-21T10:17:06.223" v="4114" actId="1035"/>
          <ac:spMkLst>
            <pc:docMk/>
            <pc:sldMk cId="1408741597" sldId="784"/>
            <ac:spMk id="261" creationId="{41E4E228-9A2C-4A99-94BA-8ED6F7B2CB30}"/>
          </ac:spMkLst>
        </pc:spChg>
        <pc:spChg chg="add mod">
          <ac:chgData name="Mittermeier, Stefan" userId="94945143-6bbb-4fc1-b6eb-0ddcd12e4481" providerId="ADAL" clId="{13517B7C-9AFB-4918-ABE5-2ABAA5B6E0E3}" dt="2019-11-21T10:17:06.223" v="4114" actId="1035"/>
          <ac:spMkLst>
            <pc:docMk/>
            <pc:sldMk cId="1408741597" sldId="784"/>
            <ac:spMk id="262" creationId="{49AC3A97-3AD3-4DCB-AA6D-BA603774AEEF}"/>
          </ac:spMkLst>
        </pc:spChg>
        <pc:spChg chg="add mod">
          <ac:chgData name="Mittermeier, Stefan" userId="94945143-6bbb-4fc1-b6eb-0ddcd12e4481" providerId="ADAL" clId="{13517B7C-9AFB-4918-ABE5-2ABAA5B6E0E3}" dt="2019-11-21T10:17:06.223" v="4114" actId="1035"/>
          <ac:spMkLst>
            <pc:docMk/>
            <pc:sldMk cId="1408741597" sldId="784"/>
            <ac:spMk id="263" creationId="{9D3EF422-26B4-4DF3-99B5-0F550CEF46D5}"/>
          </ac:spMkLst>
        </pc:spChg>
        <pc:spChg chg="add mod">
          <ac:chgData name="Mittermeier, Stefan" userId="94945143-6bbb-4fc1-b6eb-0ddcd12e4481" providerId="ADAL" clId="{13517B7C-9AFB-4918-ABE5-2ABAA5B6E0E3}" dt="2019-11-21T10:17:06.223" v="4114" actId="1035"/>
          <ac:spMkLst>
            <pc:docMk/>
            <pc:sldMk cId="1408741597" sldId="784"/>
            <ac:spMk id="264" creationId="{28C7F468-3184-4B14-A246-8AD10C33C20C}"/>
          </ac:spMkLst>
        </pc:spChg>
        <pc:spChg chg="add del mod">
          <ac:chgData name="Mittermeier, Stefan" userId="94945143-6bbb-4fc1-b6eb-0ddcd12e4481" providerId="ADAL" clId="{13517B7C-9AFB-4918-ABE5-2ABAA5B6E0E3}" dt="2019-11-20T15:03:47.078" v="3225" actId="478"/>
          <ac:spMkLst>
            <pc:docMk/>
            <pc:sldMk cId="1408741597" sldId="784"/>
            <ac:spMk id="265" creationId="{F13718CA-6C7C-4826-BAAB-CFC8B2480076}"/>
          </ac:spMkLst>
        </pc:spChg>
        <pc:spChg chg="add del mod">
          <ac:chgData name="Mittermeier, Stefan" userId="94945143-6bbb-4fc1-b6eb-0ddcd12e4481" providerId="ADAL" clId="{13517B7C-9AFB-4918-ABE5-2ABAA5B6E0E3}" dt="2019-11-20T12:21:01.715" v="2541" actId="478"/>
          <ac:spMkLst>
            <pc:docMk/>
            <pc:sldMk cId="1408741597" sldId="784"/>
            <ac:spMk id="24579" creationId="{D8F98594-CAFD-4C5A-B247-BD6D94AC55B1}"/>
          </ac:spMkLst>
        </pc:spChg>
        <pc:spChg chg="add del mod">
          <ac:chgData name="Mittermeier, Stefan" userId="94945143-6bbb-4fc1-b6eb-0ddcd12e4481" providerId="ADAL" clId="{13517B7C-9AFB-4918-ABE5-2ABAA5B6E0E3}" dt="2019-11-20T12:24:24.880" v="2544" actId="478"/>
          <ac:spMkLst>
            <pc:docMk/>
            <pc:sldMk cId="1408741597" sldId="784"/>
            <ac:spMk id="24581" creationId="{4328BD05-8760-4BB1-8937-1AD93C3A1DA2}"/>
          </ac:spMkLst>
        </pc:spChg>
        <pc:spChg chg="add del mod">
          <ac:chgData name="Mittermeier, Stefan" userId="94945143-6bbb-4fc1-b6eb-0ddcd12e4481" providerId="ADAL" clId="{13517B7C-9AFB-4918-ABE5-2ABAA5B6E0E3}" dt="2019-11-20T12:32:30.465" v="2696" actId="164"/>
          <ac:spMkLst>
            <pc:docMk/>
            <pc:sldMk cId="1408741597" sldId="784"/>
            <ac:spMk id="24582" creationId="{DC52FACD-A665-481E-A191-E258A23C184E}"/>
          </ac:spMkLst>
        </pc:spChg>
        <pc:spChg chg="add mod ord">
          <ac:chgData name="Mittermeier, Stefan" userId="94945143-6bbb-4fc1-b6eb-0ddcd12e4481" providerId="ADAL" clId="{13517B7C-9AFB-4918-ABE5-2ABAA5B6E0E3}" dt="2019-11-20T12:32:30.465" v="2696" actId="164"/>
          <ac:spMkLst>
            <pc:docMk/>
            <pc:sldMk cId="1408741597" sldId="784"/>
            <ac:spMk id="24583" creationId="{832DDE41-2781-48F5-9959-41078F0931A4}"/>
          </ac:spMkLst>
        </pc:spChg>
        <pc:spChg chg="add mod">
          <ac:chgData name="Mittermeier, Stefan" userId="94945143-6bbb-4fc1-b6eb-0ddcd12e4481" providerId="ADAL" clId="{13517B7C-9AFB-4918-ABE5-2ABAA5B6E0E3}" dt="2019-11-20T12:35:14.530" v="2837" actId="164"/>
          <ac:spMkLst>
            <pc:docMk/>
            <pc:sldMk cId="1408741597" sldId="784"/>
            <ac:spMk id="24586" creationId="{A661F174-1FB6-42C1-B2D1-0906266C8786}"/>
          </ac:spMkLst>
        </pc:spChg>
        <pc:spChg chg="add del mod">
          <ac:chgData name="Mittermeier, Stefan" userId="94945143-6bbb-4fc1-b6eb-0ddcd12e4481" providerId="ADAL" clId="{13517B7C-9AFB-4918-ABE5-2ABAA5B6E0E3}" dt="2019-11-20T15:03:47.078" v="3225" actId="478"/>
          <ac:spMkLst>
            <pc:docMk/>
            <pc:sldMk cId="1408741597" sldId="784"/>
            <ac:spMk id="24588" creationId="{DBC913F1-FE05-4FED-B9B1-A2CC3CF4BE36}"/>
          </ac:spMkLst>
        </pc:spChg>
        <pc:spChg chg="add del mod">
          <ac:chgData name="Mittermeier, Stefan" userId="94945143-6bbb-4fc1-b6eb-0ddcd12e4481" providerId="ADAL" clId="{13517B7C-9AFB-4918-ABE5-2ABAA5B6E0E3}" dt="2019-11-20T13:07:26.550" v="3171" actId="478"/>
          <ac:spMkLst>
            <pc:docMk/>
            <pc:sldMk cId="1408741597" sldId="784"/>
            <ac:spMk id="24589" creationId="{5079F6F5-13BA-4417-A351-9A7BA35618E4}"/>
          </ac:spMkLst>
        </pc:spChg>
        <pc:spChg chg="add mod">
          <ac:chgData name="Mittermeier, Stefan" userId="94945143-6bbb-4fc1-b6eb-0ddcd12e4481" providerId="ADAL" clId="{13517B7C-9AFB-4918-ABE5-2ABAA5B6E0E3}" dt="2019-11-21T10:17:06.223" v="4114" actId="1035"/>
          <ac:spMkLst>
            <pc:docMk/>
            <pc:sldMk cId="1408741597" sldId="784"/>
            <ac:spMk id="24598" creationId="{637D0B69-1C9C-4D3D-8266-8664BFCCCD1D}"/>
          </ac:spMkLst>
        </pc:spChg>
        <pc:grpChg chg="add mod">
          <ac:chgData name="Mittermeier, Stefan" userId="94945143-6bbb-4fc1-b6eb-0ddcd12e4481" providerId="ADAL" clId="{13517B7C-9AFB-4918-ABE5-2ABAA5B6E0E3}" dt="2019-11-21T10:30:24.712" v="4439" actId="1036"/>
          <ac:grpSpMkLst>
            <pc:docMk/>
            <pc:sldMk cId="1408741597" sldId="784"/>
            <ac:grpSpMk id="6" creationId="{1B6C7223-4859-49D4-B3EF-7E6D1042252B}"/>
          </ac:grpSpMkLst>
        </pc:grpChg>
        <pc:grpChg chg="add mod">
          <ac:chgData name="Mittermeier, Stefan" userId="94945143-6bbb-4fc1-b6eb-0ddcd12e4481" providerId="ADAL" clId="{13517B7C-9AFB-4918-ABE5-2ABAA5B6E0E3}" dt="2019-11-21T10:30:24.712" v="4439" actId="1036"/>
          <ac:grpSpMkLst>
            <pc:docMk/>
            <pc:sldMk cId="1408741597" sldId="784"/>
            <ac:grpSpMk id="8" creationId="{8F8636D2-6B7F-48E9-8A1C-38FAD9E7997C}"/>
          </ac:grpSpMkLst>
        </pc:grpChg>
        <pc:grpChg chg="del">
          <ac:chgData name="Mittermeier, Stefan" userId="94945143-6bbb-4fc1-b6eb-0ddcd12e4481" providerId="ADAL" clId="{13517B7C-9AFB-4918-ABE5-2ABAA5B6E0E3}" dt="2019-11-20T10:15:15.110" v="1566" actId="478"/>
          <ac:grpSpMkLst>
            <pc:docMk/>
            <pc:sldMk cId="1408741597" sldId="784"/>
            <ac:grpSpMk id="12" creationId="{55EBC060-2D6A-4C00-8427-8E9F68AFA2DA}"/>
          </ac:grpSpMkLst>
        </pc:grpChg>
        <pc:grpChg chg="add del mod ord">
          <ac:chgData name="Mittermeier, Stefan" userId="94945143-6bbb-4fc1-b6eb-0ddcd12e4481" providerId="ADAL" clId="{13517B7C-9AFB-4918-ABE5-2ABAA5B6E0E3}" dt="2019-11-20T12:40:34.525" v="2867" actId="478"/>
          <ac:grpSpMkLst>
            <pc:docMk/>
            <pc:sldMk cId="1408741597" sldId="784"/>
            <ac:grpSpMk id="15" creationId="{8C3C7E24-D710-4B45-90DA-8E5A01687B6B}"/>
          </ac:grpSpMkLst>
        </pc:grpChg>
        <pc:grpChg chg="add del mod">
          <ac:chgData name="Mittermeier, Stefan" userId="94945143-6bbb-4fc1-b6eb-0ddcd12e4481" providerId="ADAL" clId="{13517B7C-9AFB-4918-ABE5-2ABAA5B6E0E3}" dt="2019-11-20T12:17:53.211" v="2524" actId="478"/>
          <ac:grpSpMkLst>
            <pc:docMk/>
            <pc:sldMk cId="1408741597" sldId="784"/>
            <ac:grpSpMk id="16" creationId="{DA05AD9A-3788-4EA4-AF88-95B8105288E4}"/>
          </ac:grpSpMkLst>
        </pc:grpChg>
        <pc:grpChg chg="add mod">
          <ac:chgData name="Mittermeier, Stefan" userId="94945143-6bbb-4fc1-b6eb-0ddcd12e4481" providerId="ADAL" clId="{13517B7C-9AFB-4918-ABE5-2ABAA5B6E0E3}" dt="2019-11-21T10:30:24.712" v="4439" actId="1036"/>
          <ac:grpSpMkLst>
            <pc:docMk/>
            <pc:sldMk cId="1408741597" sldId="784"/>
            <ac:grpSpMk id="35" creationId="{DCD93C25-9407-408F-AC8A-4FD46ABEF4A6}"/>
          </ac:grpSpMkLst>
        </pc:grpChg>
        <pc:grpChg chg="add mod">
          <ac:chgData name="Mittermeier, Stefan" userId="94945143-6bbb-4fc1-b6eb-0ddcd12e4481" providerId="ADAL" clId="{13517B7C-9AFB-4918-ABE5-2ABAA5B6E0E3}" dt="2019-11-21T10:30:24.712" v="4439" actId="1036"/>
          <ac:grpSpMkLst>
            <pc:docMk/>
            <pc:sldMk cId="1408741597" sldId="784"/>
            <ac:grpSpMk id="38" creationId="{474F225C-5CEC-44D9-AF59-48D71D52AE27}"/>
          </ac:grpSpMkLst>
        </pc:grpChg>
        <pc:grpChg chg="add mod">
          <ac:chgData name="Mittermeier, Stefan" userId="94945143-6bbb-4fc1-b6eb-0ddcd12e4481" providerId="ADAL" clId="{13517B7C-9AFB-4918-ABE5-2ABAA5B6E0E3}" dt="2019-11-21T10:30:24.712" v="4439" actId="1036"/>
          <ac:grpSpMkLst>
            <pc:docMk/>
            <pc:sldMk cId="1408741597" sldId="784"/>
            <ac:grpSpMk id="41" creationId="{500D3E19-8337-4118-AD1D-1DA3A57EF9A7}"/>
          </ac:grpSpMkLst>
        </pc:grpChg>
        <pc:grpChg chg="del">
          <ac:chgData name="Mittermeier, Stefan" userId="94945143-6bbb-4fc1-b6eb-0ddcd12e4481" providerId="ADAL" clId="{13517B7C-9AFB-4918-ABE5-2ABAA5B6E0E3}" dt="2019-11-20T09:48:08.900" v="1452" actId="478"/>
          <ac:grpSpMkLst>
            <pc:docMk/>
            <pc:sldMk cId="1408741597" sldId="784"/>
            <ac:grpSpMk id="45" creationId="{02B01F5A-631A-4AC4-BE76-4BB082219F50}"/>
          </ac:grpSpMkLst>
        </pc:grpChg>
        <pc:grpChg chg="del">
          <ac:chgData name="Mittermeier, Stefan" userId="94945143-6bbb-4fc1-b6eb-0ddcd12e4481" providerId="ADAL" clId="{13517B7C-9AFB-4918-ABE5-2ABAA5B6E0E3}" dt="2019-11-20T09:48:08.900" v="1452" actId="478"/>
          <ac:grpSpMkLst>
            <pc:docMk/>
            <pc:sldMk cId="1408741597" sldId="784"/>
            <ac:grpSpMk id="48" creationId="{BFB1323D-34C6-4B28-830E-062B7755F5CB}"/>
          </ac:grpSpMkLst>
        </pc:grpChg>
        <pc:grpChg chg="add del mod">
          <ac:chgData name="Mittermeier, Stefan" userId="94945143-6bbb-4fc1-b6eb-0ddcd12e4481" providerId="ADAL" clId="{13517B7C-9AFB-4918-ABE5-2ABAA5B6E0E3}" dt="2019-11-20T10:20:49.096" v="1612" actId="478"/>
          <ac:grpSpMkLst>
            <pc:docMk/>
            <pc:sldMk cId="1408741597" sldId="784"/>
            <ac:grpSpMk id="51" creationId="{593C0C2F-F4EF-4033-A8DD-6A8FA059A93B}"/>
          </ac:grpSpMkLst>
        </pc:grpChg>
        <pc:grpChg chg="add">
          <ac:chgData name="Mittermeier, Stefan" userId="94945143-6bbb-4fc1-b6eb-0ddcd12e4481" providerId="ADAL" clId="{13517B7C-9AFB-4918-ABE5-2ABAA5B6E0E3}" dt="2019-11-21T10:17:21.876" v="4115"/>
          <ac:grpSpMkLst>
            <pc:docMk/>
            <pc:sldMk cId="1408741597" sldId="784"/>
            <ac:grpSpMk id="64" creationId="{6D50923F-E237-4925-AE9D-A6754E123266}"/>
          </ac:grpSpMkLst>
        </pc:grpChg>
        <pc:grpChg chg="add del mod ord">
          <ac:chgData name="Mittermeier, Stefan" userId="94945143-6bbb-4fc1-b6eb-0ddcd12e4481" providerId="ADAL" clId="{13517B7C-9AFB-4918-ABE5-2ABAA5B6E0E3}" dt="2019-11-20T12:40:34.525" v="2867" actId="478"/>
          <ac:grpSpMkLst>
            <pc:docMk/>
            <pc:sldMk cId="1408741597" sldId="784"/>
            <ac:grpSpMk id="80" creationId="{B28F7DC5-AB2E-48D1-A857-D48A2667C180}"/>
          </ac:grpSpMkLst>
        </pc:grpChg>
        <pc:grpChg chg="add del mod ord">
          <ac:chgData name="Mittermeier, Stefan" userId="94945143-6bbb-4fc1-b6eb-0ddcd12e4481" providerId="ADAL" clId="{13517B7C-9AFB-4918-ABE5-2ABAA5B6E0E3}" dt="2019-11-20T12:40:34.525" v="2867" actId="478"/>
          <ac:grpSpMkLst>
            <pc:docMk/>
            <pc:sldMk cId="1408741597" sldId="784"/>
            <ac:grpSpMk id="84" creationId="{7699E15E-796E-441D-AD81-3F9F1EBE09D5}"/>
          </ac:grpSpMkLst>
        </pc:grpChg>
        <pc:grpChg chg="add mod">
          <ac:chgData name="Mittermeier, Stefan" userId="94945143-6bbb-4fc1-b6eb-0ddcd12e4481" providerId="ADAL" clId="{13517B7C-9AFB-4918-ABE5-2ABAA5B6E0E3}" dt="2019-11-20T10:43:18.208" v="2079" actId="164"/>
          <ac:grpSpMkLst>
            <pc:docMk/>
            <pc:sldMk cId="1408741597" sldId="784"/>
            <ac:grpSpMk id="89" creationId="{7C17A731-BECF-4D2A-8CDE-9C79C552805E}"/>
          </ac:grpSpMkLst>
        </pc:grpChg>
        <pc:grpChg chg="del">
          <ac:chgData name="Mittermeier, Stefan" userId="94945143-6bbb-4fc1-b6eb-0ddcd12e4481" providerId="ADAL" clId="{13517B7C-9AFB-4918-ABE5-2ABAA5B6E0E3}" dt="2019-11-20T09:48:08.900" v="1452" actId="478"/>
          <ac:grpSpMkLst>
            <pc:docMk/>
            <pc:sldMk cId="1408741597" sldId="784"/>
            <ac:grpSpMk id="98" creationId="{FD4C4055-83B6-437D-AD92-D5336D71B0BB}"/>
          </ac:grpSpMkLst>
        </pc:grpChg>
        <pc:grpChg chg="add del mod">
          <ac:chgData name="Mittermeier, Stefan" userId="94945143-6bbb-4fc1-b6eb-0ddcd12e4481" providerId="ADAL" clId="{13517B7C-9AFB-4918-ABE5-2ABAA5B6E0E3}" dt="2019-11-20T10:43:11.029" v="2078"/>
          <ac:grpSpMkLst>
            <pc:docMk/>
            <pc:sldMk cId="1408741597" sldId="784"/>
            <ac:grpSpMk id="103" creationId="{CC0C0E23-1634-4C7E-933A-93907E12CE97}"/>
          </ac:grpSpMkLst>
        </pc:grpChg>
        <pc:grpChg chg="add del mod ord">
          <ac:chgData name="Mittermeier, Stefan" userId="94945143-6bbb-4fc1-b6eb-0ddcd12e4481" providerId="ADAL" clId="{13517B7C-9AFB-4918-ABE5-2ABAA5B6E0E3}" dt="2019-11-20T12:17:53.211" v="2524" actId="478"/>
          <ac:grpSpMkLst>
            <pc:docMk/>
            <pc:sldMk cId="1408741597" sldId="784"/>
            <ac:grpSpMk id="107" creationId="{7ABCBBE1-1CBB-4D52-A071-16ABAF335E19}"/>
          </ac:grpSpMkLst>
        </pc:grpChg>
        <pc:grpChg chg="mod">
          <ac:chgData name="Mittermeier, Stefan" userId="94945143-6bbb-4fc1-b6eb-0ddcd12e4481" providerId="ADAL" clId="{13517B7C-9AFB-4918-ABE5-2ABAA5B6E0E3}" dt="2019-11-20T10:43:21.193" v="2080"/>
          <ac:grpSpMkLst>
            <pc:docMk/>
            <pc:sldMk cId="1408741597" sldId="784"/>
            <ac:grpSpMk id="108" creationId="{B7723EE3-25B4-49C1-B25B-EC919CAE1537}"/>
          </ac:grpSpMkLst>
        </pc:grpChg>
        <pc:grpChg chg="del">
          <ac:chgData name="Mittermeier, Stefan" userId="94945143-6bbb-4fc1-b6eb-0ddcd12e4481" providerId="ADAL" clId="{13517B7C-9AFB-4918-ABE5-2ABAA5B6E0E3}" dt="2019-11-20T09:48:08.900" v="1452" actId="478"/>
          <ac:grpSpMkLst>
            <pc:docMk/>
            <pc:sldMk cId="1408741597" sldId="784"/>
            <ac:grpSpMk id="110" creationId="{AFFFDEDD-41BF-4E2F-950B-2D84B3481983}"/>
          </ac:grpSpMkLst>
        </pc:grpChg>
        <pc:grpChg chg="add del mod ord">
          <ac:chgData name="Mittermeier, Stefan" userId="94945143-6bbb-4fc1-b6eb-0ddcd12e4481" providerId="ADAL" clId="{13517B7C-9AFB-4918-ABE5-2ABAA5B6E0E3}" dt="2019-11-20T12:17:53.211" v="2524" actId="478"/>
          <ac:grpSpMkLst>
            <pc:docMk/>
            <pc:sldMk cId="1408741597" sldId="784"/>
            <ac:grpSpMk id="119" creationId="{5781B194-62DF-47D2-B7F2-68CBEDD5108E}"/>
          </ac:grpSpMkLst>
        </pc:grpChg>
        <pc:grpChg chg="mod">
          <ac:chgData name="Mittermeier, Stefan" userId="94945143-6bbb-4fc1-b6eb-0ddcd12e4481" providerId="ADAL" clId="{13517B7C-9AFB-4918-ABE5-2ABAA5B6E0E3}" dt="2019-11-20T10:43:34.679" v="2083"/>
          <ac:grpSpMkLst>
            <pc:docMk/>
            <pc:sldMk cId="1408741597" sldId="784"/>
            <ac:grpSpMk id="120" creationId="{DB7D03BE-9F70-490E-BBD3-CEECE09FCD7F}"/>
          </ac:grpSpMkLst>
        </pc:grpChg>
        <pc:grpChg chg="add del mod">
          <ac:chgData name="Mittermeier, Stefan" userId="94945143-6bbb-4fc1-b6eb-0ddcd12e4481" providerId="ADAL" clId="{13517B7C-9AFB-4918-ABE5-2ABAA5B6E0E3}" dt="2019-11-20T12:17:53.211" v="2524" actId="478"/>
          <ac:grpSpMkLst>
            <pc:docMk/>
            <pc:sldMk cId="1408741597" sldId="784"/>
            <ac:grpSpMk id="138" creationId="{5FD1D1FA-3BBA-4740-81CA-882EF2C44F7F}"/>
          </ac:grpSpMkLst>
        </pc:grpChg>
        <pc:grpChg chg="add del mod">
          <ac:chgData name="Mittermeier, Stefan" userId="94945143-6bbb-4fc1-b6eb-0ddcd12e4481" providerId="ADAL" clId="{13517B7C-9AFB-4918-ABE5-2ABAA5B6E0E3}" dt="2019-11-20T12:38:13.380" v="2857" actId="478"/>
          <ac:grpSpMkLst>
            <pc:docMk/>
            <pc:sldMk cId="1408741597" sldId="784"/>
            <ac:grpSpMk id="140" creationId="{E28677EA-26E8-4AAC-B026-508E4F62D600}"/>
          </ac:grpSpMkLst>
        </pc:grpChg>
        <pc:grpChg chg="add del mod">
          <ac:chgData name="Mittermeier, Stefan" userId="94945143-6bbb-4fc1-b6eb-0ddcd12e4481" providerId="ADAL" clId="{13517B7C-9AFB-4918-ABE5-2ABAA5B6E0E3}" dt="2019-11-20T12:17:53.211" v="2524" actId="478"/>
          <ac:grpSpMkLst>
            <pc:docMk/>
            <pc:sldMk cId="1408741597" sldId="784"/>
            <ac:grpSpMk id="155" creationId="{090D590F-7330-4187-959A-97E270385919}"/>
          </ac:grpSpMkLst>
        </pc:grpChg>
        <pc:grpChg chg="add del mod">
          <ac:chgData name="Mittermeier, Stefan" userId="94945143-6bbb-4fc1-b6eb-0ddcd12e4481" providerId="ADAL" clId="{13517B7C-9AFB-4918-ABE5-2ABAA5B6E0E3}" dt="2019-11-20T12:40:34.525" v="2867" actId="478"/>
          <ac:grpSpMkLst>
            <pc:docMk/>
            <pc:sldMk cId="1408741597" sldId="784"/>
            <ac:grpSpMk id="164" creationId="{3AF7B58B-B42E-4031-BA23-4A44BDC162A5}"/>
          </ac:grpSpMkLst>
        </pc:grpChg>
        <pc:grpChg chg="add del mod">
          <ac:chgData name="Mittermeier, Stefan" userId="94945143-6bbb-4fc1-b6eb-0ddcd12e4481" providerId="ADAL" clId="{13517B7C-9AFB-4918-ABE5-2ABAA5B6E0E3}" dt="2019-11-20T15:03:47.078" v="3225" actId="478"/>
          <ac:grpSpMkLst>
            <pc:docMk/>
            <pc:sldMk cId="1408741597" sldId="784"/>
            <ac:grpSpMk id="187" creationId="{24E4F7AC-9DE8-4E16-9FB7-EC6C0F458EC2}"/>
          </ac:grpSpMkLst>
        </pc:grpChg>
        <pc:grpChg chg="add del mod">
          <ac:chgData name="Mittermeier, Stefan" userId="94945143-6bbb-4fc1-b6eb-0ddcd12e4481" providerId="ADAL" clId="{13517B7C-9AFB-4918-ABE5-2ABAA5B6E0E3}" dt="2019-11-20T15:03:47.078" v="3225" actId="478"/>
          <ac:grpSpMkLst>
            <pc:docMk/>
            <pc:sldMk cId="1408741597" sldId="784"/>
            <ac:grpSpMk id="190" creationId="{B81FAA6E-546D-4613-BB47-60B283FFE194}"/>
          </ac:grpSpMkLst>
        </pc:grpChg>
        <pc:grpChg chg="add del mod">
          <ac:chgData name="Mittermeier, Stefan" userId="94945143-6bbb-4fc1-b6eb-0ddcd12e4481" providerId="ADAL" clId="{13517B7C-9AFB-4918-ABE5-2ABAA5B6E0E3}" dt="2019-11-20T12:42:48.828" v="2966" actId="478"/>
          <ac:grpSpMkLst>
            <pc:docMk/>
            <pc:sldMk cId="1408741597" sldId="784"/>
            <ac:grpSpMk id="203" creationId="{E0B5DA7E-2B30-4CF3-BCDE-383E037C661C}"/>
          </ac:grpSpMkLst>
        </pc:grpChg>
        <pc:grpChg chg="add del mod">
          <ac:chgData name="Mittermeier, Stefan" userId="94945143-6bbb-4fc1-b6eb-0ddcd12e4481" providerId="ADAL" clId="{13517B7C-9AFB-4918-ABE5-2ABAA5B6E0E3}" dt="2019-11-20T15:03:47.078" v="3225" actId="478"/>
          <ac:grpSpMkLst>
            <pc:docMk/>
            <pc:sldMk cId="1408741597" sldId="784"/>
            <ac:grpSpMk id="229" creationId="{2EBF497A-FEF1-43AA-B2A2-ECC5E07FB547}"/>
          </ac:grpSpMkLst>
        </pc:grpChg>
        <pc:grpChg chg="add del mod">
          <ac:chgData name="Mittermeier, Stefan" userId="94945143-6bbb-4fc1-b6eb-0ddcd12e4481" providerId="ADAL" clId="{13517B7C-9AFB-4918-ABE5-2ABAA5B6E0E3}" dt="2019-11-20T15:03:47.078" v="3225" actId="478"/>
          <ac:grpSpMkLst>
            <pc:docMk/>
            <pc:sldMk cId="1408741597" sldId="784"/>
            <ac:grpSpMk id="232" creationId="{5B6A5D4F-5082-47FF-AB86-ADBA8CFAD4B8}"/>
          </ac:grpSpMkLst>
        </pc:grpChg>
        <pc:grpChg chg="add del mod">
          <ac:chgData name="Mittermeier, Stefan" userId="94945143-6bbb-4fc1-b6eb-0ddcd12e4481" providerId="ADAL" clId="{13517B7C-9AFB-4918-ABE5-2ABAA5B6E0E3}" dt="2019-11-20T15:03:47.078" v="3225" actId="478"/>
          <ac:grpSpMkLst>
            <pc:docMk/>
            <pc:sldMk cId="1408741597" sldId="784"/>
            <ac:grpSpMk id="235" creationId="{436816B0-769D-4FEA-8AB5-F11195BF92AF}"/>
          </ac:grpSpMkLst>
        </pc:grpChg>
        <pc:grpChg chg="add del mod">
          <ac:chgData name="Mittermeier, Stefan" userId="94945143-6bbb-4fc1-b6eb-0ddcd12e4481" providerId="ADAL" clId="{13517B7C-9AFB-4918-ABE5-2ABAA5B6E0E3}" dt="2019-11-20T15:03:47.078" v="3225" actId="478"/>
          <ac:grpSpMkLst>
            <pc:docMk/>
            <pc:sldMk cId="1408741597" sldId="784"/>
            <ac:grpSpMk id="238" creationId="{C96CB050-822F-4180-9922-30EED952CA21}"/>
          </ac:grpSpMkLst>
        </pc:grpChg>
        <pc:grpChg chg="add del mod">
          <ac:chgData name="Mittermeier, Stefan" userId="94945143-6bbb-4fc1-b6eb-0ddcd12e4481" providerId="ADAL" clId="{13517B7C-9AFB-4918-ABE5-2ABAA5B6E0E3}" dt="2019-11-20T15:03:47.078" v="3225" actId="478"/>
          <ac:grpSpMkLst>
            <pc:docMk/>
            <pc:sldMk cId="1408741597" sldId="784"/>
            <ac:grpSpMk id="249" creationId="{69F2E834-D59C-4EC1-B12B-C56DC4EE5770}"/>
          </ac:grpSpMkLst>
        </pc:grpChg>
        <pc:grpChg chg="add del mod">
          <ac:chgData name="Mittermeier, Stefan" userId="94945143-6bbb-4fc1-b6eb-0ddcd12e4481" providerId="ADAL" clId="{13517B7C-9AFB-4918-ABE5-2ABAA5B6E0E3}" dt="2019-11-20T12:47:40.544" v="2995" actId="478"/>
          <ac:grpSpMkLst>
            <pc:docMk/>
            <pc:sldMk cId="1408741597" sldId="784"/>
            <ac:grpSpMk id="24578" creationId="{3891C4A1-827E-47DF-9672-40A2CCEE4C76}"/>
          </ac:grpSpMkLst>
        </pc:grpChg>
        <pc:grpChg chg="add mod">
          <ac:chgData name="Mittermeier, Stefan" userId="94945143-6bbb-4fc1-b6eb-0ddcd12e4481" providerId="ADAL" clId="{13517B7C-9AFB-4918-ABE5-2ABAA5B6E0E3}" dt="2019-11-21T10:17:06.223" v="4114" actId="1035"/>
          <ac:grpSpMkLst>
            <pc:docMk/>
            <pc:sldMk cId="1408741597" sldId="784"/>
            <ac:grpSpMk id="24584" creationId="{C169E089-436C-4A29-8F8F-4B8D798E92D0}"/>
          </ac:grpSpMkLst>
        </pc:grpChg>
        <pc:grpChg chg="add mod">
          <ac:chgData name="Mittermeier, Stefan" userId="94945143-6bbb-4fc1-b6eb-0ddcd12e4481" providerId="ADAL" clId="{13517B7C-9AFB-4918-ABE5-2ABAA5B6E0E3}" dt="2019-11-21T10:17:06.223" v="4114" actId="1035"/>
          <ac:grpSpMkLst>
            <pc:docMk/>
            <pc:sldMk cId="1408741597" sldId="784"/>
            <ac:grpSpMk id="24585" creationId="{EA8E3C85-FB5E-41F7-B528-EA39BA3A3F74}"/>
          </ac:grpSpMkLst>
        </pc:grpChg>
        <pc:grpChg chg="add del mod">
          <ac:chgData name="Mittermeier, Stefan" userId="94945143-6bbb-4fc1-b6eb-0ddcd12e4481" providerId="ADAL" clId="{13517B7C-9AFB-4918-ABE5-2ABAA5B6E0E3}" dt="2019-11-20T15:03:47.078" v="3225" actId="478"/>
          <ac:grpSpMkLst>
            <pc:docMk/>
            <pc:sldMk cId="1408741597" sldId="784"/>
            <ac:grpSpMk id="24587" creationId="{F6FEECA0-9D71-474E-89E0-A0FE132C83F2}"/>
          </ac:grpSpMkLst>
        </pc:grpChg>
        <pc:picChg chg="del">
          <ac:chgData name="Mittermeier, Stefan" userId="94945143-6bbb-4fc1-b6eb-0ddcd12e4481" providerId="ADAL" clId="{13517B7C-9AFB-4918-ABE5-2ABAA5B6E0E3}" dt="2019-11-20T09:48:08.900" v="1452" actId="478"/>
          <ac:picMkLst>
            <pc:docMk/>
            <pc:sldMk cId="1408741597" sldId="784"/>
            <ac:picMk id="3" creationId="{B731E7A1-2C8B-4BEC-88A0-FBF5A2FADA69}"/>
          </ac:picMkLst>
        </pc:picChg>
        <pc:picChg chg="del">
          <ac:chgData name="Mittermeier, Stefan" userId="94945143-6bbb-4fc1-b6eb-0ddcd12e4481" providerId="ADAL" clId="{13517B7C-9AFB-4918-ABE5-2ABAA5B6E0E3}" dt="2019-11-20T09:48:08.900" v="1452" actId="478"/>
          <ac:picMkLst>
            <pc:docMk/>
            <pc:sldMk cId="1408741597" sldId="784"/>
            <ac:picMk id="4" creationId="{F09C11C8-87C5-49BE-9018-C00F581D5558}"/>
          </ac:picMkLst>
        </pc:picChg>
        <pc:picChg chg="del">
          <ac:chgData name="Mittermeier, Stefan" userId="94945143-6bbb-4fc1-b6eb-0ddcd12e4481" providerId="ADAL" clId="{13517B7C-9AFB-4918-ABE5-2ABAA5B6E0E3}" dt="2019-11-20T09:48:08.900" v="1452" actId="478"/>
          <ac:picMkLst>
            <pc:docMk/>
            <pc:sldMk cId="1408741597" sldId="784"/>
            <ac:picMk id="52" creationId="{4ED0F06D-0B36-4421-B842-0EEDF7F233AB}"/>
          </ac:picMkLst>
        </pc:picChg>
        <pc:picChg chg="del">
          <ac:chgData name="Mittermeier, Stefan" userId="94945143-6bbb-4fc1-b6eb-0ddcd12e4481" providerId="ADAL" clId="{13517B7C-9AFB-4918-ABE5-2ABAA5B6E0E3}" dt="2019-11-20T09:48:08.900" v="1452" actId="478"/>
          <ac:picMkLst>
            <pc:docMk/>
            <pc:sldMk cId="1408741597" sldId="784"/>
            <ac:picMk id="56" creationId="{6055A03D-0D28-4E18-B01B-6FA258CB6F06}"/>
          </ac:picMkLst>
        </pc:picChg>
        <pc:picChg chg="del">
          <ac:chgData name="Mittermeier, Stefan" userId="94945143-6bbb-4fc1-b6eb-0ddcd12e4481" providerId="ADAL" clId="{13517B7C-9AFB-4918-ABE5-2ABAA5B6E0E3}" dt="2019-11-20T09:48:08.900" v="1452" actId="478"/>
          <ac:picMkLst>
            <pc:docMk/>
            <pc:sldMk cId="1408741597" sldId="784"/>
            <ac:picMk id="101" creationId="{6163DD3D-3DC2-458A-9DB6-D70EF4CBCC78}"/>
          </ac:picMkLst>
        </pc:picChg>
        <pc:picChg chg="del">
          <ac:chgData name="Mittermeier, Stefan" userId="94945143-6bbb-4fc1-b6eb-0ddcd12e4481" providerId="ADAL" clId="{13517B7C-9AFB-4918-ABE5-2ABAA5B6E0E3}" dt="2019-11-20T09:48:08.900" v="1452" actId="478"/>
          <ac:picMkLst>
            <pc:docMk/>
            <pc:sldMk cId="1408741597" sldId="784"/>
            <ac:picMk id="102" creationId="{BF4A6284-86F7-49D1-8234-111D3EA1CADB}"/>
          </ac:picMkLst>
        </pc:picChg>
        <pc:picChg chg="del">
          <ac:chgData name="Mittermeier, Stefan" userId="94945143-6bbb-4fc1-b6eb-0ddcd12e4481" providerId="ADAL" clId="{13517B7C-9AFB-4918-ABE5-2ABAA5B6E0E3}" dt="2019-11-20T09:48:08.900" v="1452" actId="478"/>
          <ac:picMkLst>
            <pc:docMk/>
            <pc:sldMk cId="1408741597" sldId="784"/>
            <ac:picMk id="113" creationId="{8E7F340A-54D9-40C2-A42F-C65488EF77CF}"/>
          </ac:picMkLst>
        </pc:picChg>
        <pc:picChg chg="del">
          <ac:chgData name="Mittermeier, Stefan" userId="94945143-6bbb-4fc1-b6eb-0ddcd12e4481" providerId="ADAL" clId="{13517B7C-9AFB-4918-ABE5-2ABAA5B6E0E3}" dt="2019-11-20T09:48:08.900" v="1452" actId="478"/>
          <ac:picMkLst>
            <pc:docMk/>
            <pc:sldMk cId="1408741597" sldId="784"/>
            <ac:picMk id="114" creationId="{3B6E5C20-20CC-4EA8-862F-611C244360C6}"/>
          </ac:picMkLst>
        </pc:picChg>
        <pc:picChg chg="del">
          <ac:chgData name="Mittermeier, Stefan" userId="94945143-6bbb-4fc1-b6eb-0ddcd12e4481" providerId="ADAL" clId="{13517B7C-9AFB-4918-ABE5-2ABAA5B6E0E3}" dt="2019-11-20T09:48:08.900" v="1452" actId="478"/>
          <ac:picMkLst>
            <pc:docMk/>
            <pc:sldMk cId="1408741597" sldId="784"/>
            <ac:picMk id="115" creationId="{F4ED186B-2EC8-44D6-BF2A-39DCEDD2E826}"/>
          </ac:picMkLst>
        </pc:picChg>
        <pc:picChg chg="del">
          <ac:chgData name="Mittermeier, Stefan" userId="94945143-6bbb-4fc1-b6eb-0ddcd12e4481" providerId="ADAL" clId="{13517B7C-9AFB-4918-ABE5-2ABAA5B6E0E3}" dt="2019-11-20T09:48:08.900" v="1452" actId="478"/>
          <ac:picMkLst>
            <pc:docMk/>
            <pc:sldMk cId="1408741597" sldId="784"/>
            <ac:picMk id="24580" creationId="{7C67F1A8-DB83-40BB-BE87-7874C81501E5}"/>
          </ac:picMkLst>
        </pc:picChg>
        <pc:picChg chg="add del mod modCrop">
          <ac:chgData name="Mittermeier, Stefan" userId="94945143-6bbb-4fc1-b6eb-0ddcd12e4481" providerId="ADAL" clId="{13517B7C-9AFB-4918-ABE5-2ABAA5B6E0E3}" dt="2019-11-20T12:40:34.525" v="2867" actId="478"/>
          <ac:picMkLst>
            <pc:docMk/>
            <pc:sldMk cId="1408741597" sldId="784"/>
            <ac:picMk id="26626" creationId="{2D1F9686-FADF-4717-9362-3C6FB82A7288}"/>
          </ac:picMkLst>
        </pc:picChg>
        <pc:picChg chg="add del mod modCrop">
          <ac:chgData name="Mittermeier, Stefan" userId="94945143-6bbb-4fc1-b6eb-0ddcd12e4481" providerId="ADAL" clId="{13517B7C-9AFB-4918-ABE5-2ABAA5B6E0E3}" dt="2019-11-20T13:10:09.064" v="3195" actId="478"/>
          <ac:picMkLst>
            <pc:docMk/>
            <pc:sldMk cId="1408741597" sldId="784"/>
            <ac:picMk id="26628" creationId="{F577C560-1454-48DB-BE0A-D21C67B4DFEB}"/>
          </ac:picMkLst>
        </pc:picChg>
        <pc:cxnChg chg="add del mod">
          <ac:chgData name="Mittermeier, Stefan" userId="94945143-6bbb-4fc1-b6eb-0ddcd12e4481" providerId="ADAL" clId="{13517B7C-9AFB-4918-ABE5-2ABAA5B6E0E3}" dt="2019-11-20T15:03:50.732" v="3226" actId="478"/>
          <ac:cxnSpMkLst>
            <pc:docMk/>
            <pc:sldMk cId="1408741597" sldId="784"/>
            <ac:cxnSpMk id="10" creationId="{08D212B8-AC62-46F8-98A1-089EF99DB54C}"/>
          </ac:cxnSpMkLst>
        </pc:cxnChg>
        <pc:cxnChg chg="add mod">
          <ac:chgData name="Mittermeier, Stefan" userId="94945143-6bbb-4fc1-b6eb-0ddcd12e4481" providerId="ADAL" clId="{13517B7C-9AFB-4918-ABE5-2ABAA5B6E0E3}" dt="2019-11-20T11:01:00.999" v="2396" actId="164"/>
          <ac:cxnSpMkLst>
            <pc:docMk/>
            <pc:sldMk cId="1408741597" sldId="784"/>
            <ac:cxnSpMk id="22" creationId="{64DE2E22-50D5-4D7E-B9A6-DFAAFE3B473D}"/>
          </ac:cxnSpMkLst>
        </pc:cxnChg>
        <pc:cxnChg chg="add mod">
          <ac:chgData name="Mittermeier, Stefan" userId="94945143-6bbb-4fc1-b6eb-0ddcd12e4481" providerId="ADAL" clId="{13517B7C-9AFB-4918-ABE5-2ABAA5B6E0E3}" dt="2019-11-21T10:17:06.223" v="4114" actId="1035"/>
          <ac:cxnSpMkLst>
            <pc:docMk/>
            <pc:sldMk cId="1408741597" sldId="784"/>
            <ac:cxnSpMk id="88" creationId="{2476373E-D8CA-404E-BEA2-23B4F48EC7E6}"/>
          </ac:cxnSpMkLst>
        </pc:cxnChg>
        <pc:cxnChg chg="add mod">
          <ac:chgData name="Mittermeier, Stefan" userId="94945143-6bbb-4fc1-b6eb-0ddcd12e4481" providerId="ADAL" clId="{13517B7C-9AFB-4918-ABE5-2ABAA5B6E0E3}" dt="2019-11-20T11:01:00.999" v="2396" actId="164"/>
          <ac:cxnSpMkLst>
            <pc:docMk/>
            <pc:sldMk cId="1408741597" sldId="784"/>
            <ac:cxnSpMk id="129" creationId="{DD7A65EF-57C6-4DB6-A450-0D1CAB2BB0C4}"/>
          </ac:cxnSpMkLst>
        </pc:cxnChg>
        <pc:cxnChg chg="add mod">
          <ac:chgData name="Mittermeier, Stefan" userId="94945143-6bbb-4fc1-b6eb-0ddcd12e4481" providerId="ADAL" clId="{13517B7C-9AFB-4918-ABE5-2ABAA5B6E0E3}" dt="2019-11-20T11:01:00.999" v="2396" actId="164"/>
          <ac:cxnSpMkLst>
            <pc:docMk/>
            <pc:sldMk cId="1408741597" sldId="784"/>
            <ac:cxnSpMk id="130" creationId="{5FB3C13F-420C-4D16-93F1-10FDE7AB1863}"/>
          </ac:cxnSpMkLst>
        </pc:cxnChg>
        <pc:cxnChg chg="add del mod">
          <ac:chgData name="Mittermeier, Stefan" userId="94945143-6bbb-4fc1-b6eb-0ddcd12e4481" providerId="ADAL" clId="{13517B7C-9AFB-4918-ABE5-2ABAA5B6E0E3}" dt="2019-11-20T12:17:53.211" v="2524" actId="478"/>
          <ac:cxnSpMkLst>
            <pc:docMk/>
            <pc:sldMk cId="1408741597" sldId="784"/>
            <ac:cxnSpMk id="131" creationId="{EBFEF06F-6674-4DC2-B405-E3291182212A}"/>
          </ac:cxnSpMkLst>
        </pc:cxnChg>
        <pc:cxnChg chg="add del mod">
          <ac:chgData name="Mittermeier, Stefan" userId="94945143-6bbb-4fc1-b6eb-0ddcd12e4481" providerId="ADAL" clId="{13517B7C-9AFB-4918-ABE5-2ABAA5B6E0E3}" dt="2019-11-20T10:59:02.670" v="2371" actId="478"/>
          <ac:cxnSpMkLst>
            <pc:docMk/>
            <pc:sldMk cId="1408741597" sldId="784"/>
            <ac:cxnSpMk id="132" creationId="{6355016D-F9E7-45BD-A78C-09FBAF47A570}"/>
          </ac:cxnSpMkLst>
        </pc:cxnChg>
        <pc:cxnChg chg="add del mod">
          <ac:chgData name="Mittermeier, Stefan" userId="94945143-6bbb-4fc1-b6eb-0ddcd12e4481" providerId="ADAL" clId="{13517B7C-9AFB-4918-ABE5-2ABAA5B6E0E3}" dt="2019-11-20T10:59:02.670" v="2371" actId="478"/>
          <ac:cxnSpMkLst>
            <pc:docMk/>
            <pc:sldMk cId="1408741597" sldId="784"/>
            <ac:cxnSpMk id="133" creationId="{3490F635-7B5B-4E00-AB77-0C571FBFC848}"/>
          </ac:cxnSpMkLst>
        </pc:cxnChg>
        <pc:cxnChg chg="add del mod">
          <ac:chgData name="Mittermeier, Stefan" userId="94945143-6bbb-4fc1-b6eb-0ddcd12e4481" providerId="ADAL" clId="{13517B7C-9AFB-4918-ABE5-2ABAA5B6E0E3}" dt="2019-11-20T10:59:02.670" v="2371" actId="478"/>
          <ac:cxnSpMkLst>
            <pc:docMk/>
            <pc:sldMk cId="1408741597" sldId="784"/>
            <ac:cxnSpMk id="134" creationId="{0EC9ADA9-1FC0-4AD2-BEB0-AAA521C2619D}"/>
          </ac:cxnSpMkLst>
        </pc:cxnChg>
        <pc:cxnChg chg="add del mod">
          <ac:chgData name="Mittermeier, Stefan" userId="94945143-6bbb-4fc1-b6eb-0ddcd12e4481" providerId="ADAL" clId="{13517B7C-9AFB-4918-ABE5-2ABAA5B6E0E3}" dt="2019-11-20T11:01:33.291" v="2434" actId="478"/>
          <ac:cxnSpMkLst>
            <pc:docMk/>
            <pc:sldMk cId="1408741597" sldId="784"/>
            <ac:cxnSpMk id="135" creationId="{19EFC8F8-3B9C-419F-8A6D-4A4F59603948}"/>
          </ac:cxnSpMkLst>
        </pc:cxnChg>
        <pc:cxnChg chg="add del mod">
          <ac:chgData name="Mittermeier, Stefan" userId="94945143-6bbb-4fc1-b6eb-0ddcd12e4481" providerId="ADAL" clId="{13517B7C-9AFB-4918-ABE5-2ABAA5B6E0E3}" dt="2019-11-20T11:01:32.589" v="2433" actId="478"/>
          <ac:cxnSpMkLst>
            <pc:docMk/>
            <pc:sldMk cId="1408741597" sldId="784"/>
            <ac:cxnSpMk id="136" creationId="{3333D00E-31A3-4645-A65A-623EA0E188CF}"/>
          </ac:cxnSpMkLst>
        </pc:cxnChg>
        <pc:cxnChg chg="add del mod">
          <ac:chgData name="Mittermeier, Stefan" userId="94945143-6bbb-4fc1-b6eb-0ddcd12e4481" providerId="ADAL" clId="{13517B7C-9AFB-4918-ABE5-2ABAA5B6E0E3}" dt="2019-11-20T11:01:31.669" v="2432" actId="478"/>
          <ac:cxnSpMkLst>
            <pc:docMk/>
            <pc:sldMk cId="1408741597" sldId="784"/>
            <ac:cxnSpMk id="137" creationId="{70892EAB-3466-4A35-913D-AF9E518D5630}"/>
          </ac:cxnSpMkLst>
        </pc:cxnChg>
        <pc:cxnChg chg="mod">
          <ac:chgData name="Mittermeier, Stefan" userId="94945143-6bbb-4fc1-b6eb-0ddcd12e4481" providerId="ADAL" clId="{13517B7C-9AFB-4918-ABE5-2ABAA5B6E0E3}" dt="2019-11-20T11:08:09.809" v="2510" actId="1035"/>
          <ac:cxnSpMkLst>
            <pc:docMk/>
            <pc:sldMk cId="1408741597" sldId="784"/>
            <ac:cxnSpMk id="141" creationId="{914AC02D-9164-4838-94C0-CB5F1B2E8D04}"/>
          </ac:cxnSpMkLst>
        </pc:cxnChg>
        <pc:cxnChg chg="mod">
          <ac:chgData name="Mittermeier, Stefan" userId="94945143-6bbb-4fc1-b6eb-0ddcd12e4481" providerId="ADAL" clId="{13517B7C-9AFB-4918-ABE5-2ABAA5B6E0E3}" dt="2019-11-20T11:07:53.354" v="2500" actId="1037"/>
          <ac:cxnSpMkLst>
            <pc:docMk/>
            <pc:sldMk cId="1408741597" sldId="784"/>
            <ac:cxnSpMk id="142" creationId="{517026B3-5CB2-4891-BCA3-2ADC4D4AA636}"/>
          </ac:cxnSpMkLst>
        </pc:cxnChg>
        <pc:cxnChg chg="mod">
          <ac:chgData name="Mittermeier, Stefan" userId="94945143-6bbb-4fc1-b6eb-0ddcd12e4481" providerId="ADAL" clId="{13517B7C-9AFB-4918-ABE5-2ABAA5B6E0E3}" dt="2019-11-20T11:07:56.607" v="2501" actId="1038"/>
          <ac:cxnSpMkLst>
            <pc:docMk/>
            <pc:sldMk cId="1408741597" sldId="784"/>
            <ac:cxnSpMk id="143" creationId="{2B3FD202-4661-426A-863D-1F03CBEDB52A}"/>
          </ac:cxnSpMkLst>
        </pc:cxnChg>
        <pc:cxnChg chg="add mod">
          <ac:chgData name="Mittermeier, Stefan" userId="94945143-6bbb-4fc1-b6eb-0ddcd12e4481" providerId="ADAL" clId="{13517B7C-9AFB-4918-ABE5-2ABAA5B6E0E3}" dt="2019-11-21T10:17:06.223" v="4114" actId="1035"/>
          <ac:cxnSpMkLst>
            <pc:docMk/>
            <pc:sldMk cId="1408741597" sldId="784"/>
            <ac:cxnSpMk id="145" creationId="{46B8F5E5-1C18-42A3-908B-40F5C54B5ECB}"/>
          </ac:cxnSpMkLst>
        </pc:cxnChg>
        <pc:cxnChg chg="add del mod topLvl">
          <ac:chgData name="Mittermeier, Stefan" userId="94945143-6bbb-4fc1-b6eb-0ddcd12e4481" providerId="ADAL" clId="{13517B7C-9AFB-4918-ABE5-2ABAA5B6E0E3}" dt="2019-11-20T12:47:40.544" v="2995" actId="478"/>
          <ac:cxnSpMkLst>
            <pc:docMk/>
            <pc:sldMk cId="1408741597" sldId="784"/>
            <ac:cxnSpMk id="149" creationId="{94548A85-B60C-4872-B867-7884B8A97047}"/>
          </ac:cxnSpMkLst>
        </pc:cxnChg>
        <pc:cxnChg chg="add mod topLvl">
          <ac:chgData name="Mittermeier, Stefan" userId="94945143-6bbb-4fc1-b6eb-0ddcd12e4481" providerId="ADAL" clId="{13517B7C-9AFB-4918-ABE5-2ABAA5B6E0E3}" dt="2019-11-21T10:17:06.223" v="4114" actId="1035"/>
          <ac:cxnSpMkLst>
            <pc:docMk/>
            <pc:sldMk cId="1408741597" sldId="784"/>
            <ac:cxnSpMk id="152" creationId="{EF921E87-581A-42C7-9A68-B44475435308}"/>
          </ac:cxnSpMkLst>
        </pc:cxnChg>
        <pc:cxnChg chg="add del mod">
          <ac:chgData name="Mittermeier, Stefan" userId="94945143-6bbb-4fc1-b6eb-0ddcd12e4481" providerId="ADAL" clId="{13517B7C-9AFB-4918-ABE5-2ABAA5B6E0E3}" dt="2019-11-20T12:42:46.690" v="2965" actId="478"/>
          <ac:cxnSpMkLst>
            <pc:docMk/>
            <pc:sldMk cId="1408741597" sldId="784"/>
            <ac:cxnSpMk id="201" creationId="{9C0551D0-86CC-4357-9CF8-67EE60763A18}"/>
          </ac:cxnSpMkLst>
        </pc:cxnChg>
        <pc:cxnChg chg="add del mod">
          <ac:chgData name="Mittermeier, Stefan" userId="94945143-6bbb-4fc1-b6eb-0ddcd12e4481" providerId="ADAL" clId="{13517B7C-9AFB-4918-ABE5-2ABAA5B6E0E3}" dt="2019-11-20T12:44:27.783" v="2978" actId="478"/>
          <ac:cxnSpMkLst>
            <pc:docMk/>
            <pc:sldMk cId="1408741597" sldId="784"/>
            <ac:cxnSpMk id="217" creationId="{F08B4FB1-13F0-4867-A292-B3A798DF53E7}"/>
          </ac:cxnSpMkLst>
        </pc:cxnChg>
        <pc:cxnChg chg="add mod">
          <ac:chgData name="Mittermeier, Stefan" userId="94945143-6bbb-4fc1-b6eb-0ddcd12e4481" providerId="ADAL" clId="{13517B7C-9AFB-4918-ABE5-2ABAA5B6E0E3}" dt="2019-11-21T10:17:06.223" v="4114" actId="1035"/>
          <ac:cxnSpMkLst>
            <pc:docMk/>
            <pc:sldMk cId="1408741597" sldId="784"/>
            <ac:cxnSpMk id="218" creationId="{873AE620-B970-44E0-B398-91C8D2A36D27}"/>
          </ac:cxnSpMkLst>
        </pc:cxnChg>
        <pc:cxnChg chg="add del mod">
          <ac:chgData name="Mittermeier, Stefan" userId="94945143-6bbb-4fc1-b6eb-0ddcd12e4481" providerId="ADAL" clId="{13517B7C-9AFB-4918-ABE5-2ABAA5B6E0E3}" dt="2019-11-20T12:47:27.649" v="2992" actId="478"/>
          <ac:cxnSpMkLst>
            <pc:docMk/>
            <pc:sldMk cId="1408741597" sldId="784"/>
            <ac:cxnSpMk id="222" creationId="{4AB8AEFD-44C4-4090-B6D3-764EBAF6E002}"/>
          </ac:cxnSpMkLst>
        </pc:cxnChg>
        <pc:cxnChg chg="add mod">
          <ac:chgData name="Mittermeier, Stefan" userId="94945143-6bbb-4fc1-b6eb-0ddcd12e4481" providerId="ADAL" clId="{13517B7C-9AFB-4918-ABE5-2ABAA5B6E0E3}" dt="2019-11-21T10:17:06.223" v="4114" actId="1035"/>
          <ac:cxnSpMkLst>
            <pc:docMk/>
            <pc:sldMk cId="1408741597" sldId="784"/>
            <ac:cxnSpMk id="224" creationId="{E47BCC07-E716-4330-9876-75AF5F6749E1}"/>
          </ac:cxnSpMkLst>
        </pc:cxnChg>
        <pc:cxnChg chg="add mod">
          <ac:chgData name="Mittermeier, Stefan" userId="94945143-6bbb-4fc1-b6eb-0ddcd12e4481" providerId="ADAL" clId="{13517B7C-9AFB-4918-ABE5-2ABAA5B6E0E3}" dt="2019-11-21T10:17:06.223" v="4114" actId="1035"/>
          <ac:cxnSpMkLst>
            <pc:docMk/>
            <pc:sldMk cId="1408741597" sldId="784"/>
            <ac:cxnSpMk id="256" creationId="{56832187-6B4F-436D-A8B1-A87C87847632}"/>
          </ac:cxnSpMkLst>
        </pc:cxnChg>
        <pc:cxnChg chg="add mod">
          <ac:chgData name="Mittermeier, Stefan" userId="94945143-6bbb-4fc1-b6eb-0ddcd12e4481" providerId="ADAL" clId="{13517B7C-9AFB-4918-ABE5-2ABAA5B6E0E3}" dt="2019-11-21T10:17:06.223" v="4114" actId="1035"/>
          <ac:cxnSpMkLst>
            <pc:docMk/>
            <pc:sldMk cId="1408741597" sldId="784"/>
            <ac:cxnSpMk id="257" creationId="{A39CF1A2-5DDC-4139-9B28-B193A29FBADA}"/>
          </ac:cxnSpMkLst>
        </pc:cxnChg>
        <pc:cxnChg chg="add mod">
          <ac:chgData name="Mittermeier, Stefan" userId="94945143-6bbb-4fc1-b6eb-0ddcd12e4481" providerId="ADAL" clId="{13517B7C-9AFB-4918-ABE5-2ABAA5B6E0E3}" dt="2019-11-21T10:17:06.223" v="4114" actId="1035"/>
          <ac:cxnSpMkLst>
            <pc:docMk/>
            <pc:sldMk cId="1408741597" sldId="784"/>
            <ac:cxnSpMk id="258" creationId="{6EF81D09-7CFE-4D11-B5D2-905BA9ACDCC1}"/>
          </ac:cxnSpMkLst>
        </pc:cxnChg>
        <pc:cxnChg chg="add mod">
          <ac:chgData name="Mittermeier, Stefan" userId="94945143-6bbb-4fc1-b6eb-0ddcd12e4481" providerId="ADAL" clId="{13517B7C-9AFB-4918-ABE5-2ABAA5B6E0E3}" dt="2019-11-21T10:17:06.223" v="4114" actId="1035"/>
          <ac:cxnSpMkLst>
            <pc:docMk/>
            <pc:sldMk cId="1408741597" sldId="784"/>
            <ac:cxnSpMk id="260" creationId="{301C2CEF-7D76-434D-9DFD-3DB1741041F6}"/>
          </ac:cxnSpMkLst>
        </pc:cxnChg>
        <pc:cxnChg chg="add del mod">
          <ac:chgData name="Mittermeier, Stefan" userId="94945143-6bbb-4fc1-b6eb-0ddcd12e4481" providerId="ADAL" clId="{13517B7C-9AFB-4918-ABE5-2ABAA5B6E0E3}" dt="2019-11-20T12:44:29.756" v="2979" actId="478"/>
          <ac:cxnSpMkLst>
            <pc:docMk/>
            <pc:sldMk cId="1408741597" sldId="784"/>
            <ac:cxnSpMk id="24591" creationId="{E24F5F56-69A0-49D5-BFFA-9C82CC899ACA}"/>
          </ac:cxnSpMkLst>
        </pc:cxnChg>
        <pc:cxnChg chg="add del mod">
          <ac:chgData name="Mittermeier, Stefan" userId="94945143-6bbb-4fc1-b6eb-0ddcd12e4481" providerId="ADAL" clId="{13517B7C-9AFB-4918-ABE5-2ABAA5B6E0E3}" dt="2019-11-20T12:44:31.856" v="2980" actId="478"/>
          <ac:cxnSpMkLst>
            <pc:docMk/>
            <pc:sldMk cId="1408741597" sldId="784"/>
            <ac:cxnSpMk id="24593" creationId="{06B9BAD1-1F0C-4538-9D7E-4CDF00B9014E}"/>
          </ac:cxnSpMkLst>
        </pc:cxnChg>
      </pc:sldChg>
      <pc:sldChg chg="addSp delSp modSp add">
        <pc:chgData name="Mittermeier, Stefan" userId="94945143-6bbb-4fc1-b6eb-0ddcd12e4481" providerId="ADAL" clId="{13517B7C-9AFB-4918-ABE5-2ABAA5B6E0E3}" dt="2019-12-03T08:17:02.515" v="4714" actId="1076"/>
        <pc:sldMkLst>
          <pc:docMk/>
          <pc:sldMk cId="3997307448" sldId="786"/>
        </pc:sldMkLst>
        <pc:spChg chg="add del mod">
          <ac:chgData name="Mittermeier, Stefan" userId="94945143-6bbb-4fc1-b6eb-0ddcd12e4481" providerId="ADAL" clId="{13517B7C-9AFB-4918-ABE5-2ABAA5B6E0E3}" dt="2019-11-20T16:31:29.172" v="3929" actId="478"/>
          <ac:spMkLst>
            <pc:docMk/>
            <pc:sldMk cId="3997307448" sldId="786"/>
            <ac:spMk id="9" creationId="{81D4AE09-80D6-46B5-B73D-0AB01CBE2014}"/>
          </ac:spMkLst>
        </pc:spChg>
        <pc:spChg chg="add del mod">
          <ac:chgData name="Mittermeier, Stefan" userId="94945143-6bbb-4fc1-b6eb-0ddcd12e4481" providerId="ADAL" clId="{13517B7C-9AFB-4918-ABE5-2ABAA5B6E0E3}" dt="2019-11-20T15:51:17.032" v="3540" actId="478"/>
          <ac:spMkLst>
            <pc:docMk/>
            <pc:sldMk cId="3997307448" sldId="786"/>
            <ac:spMk id="11" creationId="{9E86D2F8-09DC-4C3B-BD99-F43AC44480E3}"/>
          </ac:spMkLst>
        </pc:spChg>
        <pc:spChg chg="mod">
          <ac:chgData name="Mittermeier, Stefan" userId="94945143-6bbb-4fc1-b6eb-0ddcd12e4481" providerId="ADAL" clId="{13517B7C-9AFB-4918-ABE5-2ABAA5B6E0E3}" dt="2019-11-21T10:13:49.821" v="3951" actId="20577"/>
          <ac:spMkLst>
            <pc:docMk/>
            <pc:sldMk cId="3997307448" sldId="786"/>
            <ac:spMk id="19" creationId="{00000000-0000-0000-0000-000000000000}"/>
          </ac:spMkLst>
        </pc:spChg>
        <pc:spChg chg="add">
          <ac:chgData name="Mittermeier, Stefan" userId="94945143-6bbb-4fc1-b6eb-0ddcd12e4481" providerId="ADAL" clId="{13517B7C-9AFB-4918-ABE5-2ABAA5B6E0E3}" dt="2019-11-20T16:31:29.357" v="3930"/>
          <ac:spMkLst>
            <pc:docMk/>
            <pc:sldMk cId="3997307448" sldId="786"/>
            <ac:spMk id="32" creationId="{067178C2-CC26-4F63-9483-37FBEDE39AF0}"/>
          </ac:spMkLst>
        </pc:spChg>
        <pc:spChg chg="add">
          <ac:chgData name="Mittermeier, Stefan" userId="94945143-6bbb-4fc1-b6eb-0ddcd12e4481" providerId="ADAL" clId="{13517B7C-9AFB-4918-ABE5-2ABAA5B6E0E3}" dt="2019-11-20T16:31:29.357" v="3930"/>
          <ac:spMkLst>
            <pc:docMk/>
            <pc:sldMk cId="3997307448" sldId="786"/>
            <ac:spMk id="33" creationId="{2BAE4376-BDCA-468C-BD9A-13195D82C780}"/>
          </ac:spMkLst>
        </pc:spChg>
        <pc:spChg chg="add">
          <ac:chgData name="Mittermeier, Stefan" userId="94945143-6bbb-4fc1-b6eb-0ddcd12e4481" providerId="ADAL" clId="{13517B7C-9AFB-4918-ABE5-2ABAA5B6E0E3}" dt="2019-11-20T16:31:29.357" v="3930"/>
          <ac:spMkLst>
            <pc:docMk/>
            <pc:sldMk cId="3997307448" sldId="786"/>
            <ac:spMk id="34" creationId="{8A88D84D-EA78-436A-9709-6A4F618F3B76}"/>
          </ac:spMkLst>
        </pc:spChg>
        <pc:spChg chg="add">
          <ac:chgData name="Mittermeier, Stefan" userId="94945143-6bbb-4fc1-b6eb-0ddcd12e4481" providerId="ADAL" clId="{13517B7C-9AFB-4918-ABE5-2ABAA5B6E0E3}" dt="2019-11-20T16:31:29.357" v="3930"/>
          <ac:spMkLst>
            <pc:docMk/>
            <pc:sldMk cId="3997307448" sldId="786"/>
            <ac:spMk id="35" creationId="{928042B0-C546-4F76-BD9C-9E8AD49EF2B5}"/>
          </ac:spMkLst>
        </pc:spChg>
        <pc:spChg chg="add">
          <ac:chgData name="Mittermeier, Stefan" userId="94945143-6bbb-4fc1-b6eb-0ddcd12e4481" providerId="ADAL" clId="{13517B7C-9AFB-4918-ABE5-2ABAA5B6E0E3}" dt="2019-11-20T16:31:29.357" v="3930"/>
          <ac:spMkLst>
            <pc:docMk/>
            <pc:sldMk cId="3997307448" sldId="786"/>
            <ac:spMk id="36" creationId="{56C8057B-FE85-472C-82DD-4E71AA67FE66}"/>
          </ac:spMkLst>
        </pc:spChg>
        <pc:spChg chg="add mod">
          <ac:chgData name="Mittermeier, Stefan" userId="94945143-6bbb-4fc1-b6eb-0ddcd12e4481" providerId="ADAL" clId="{13517B7C-9AFB-4918-ABE5-2ABAA5B6E0E3}" dt="2019-11-21T10:21:25.620" v="4275" actId="20577"/>
          <ac:spMkLst>
            <pc:docMk/>
            <pc:sldMk cId="3997307448" sldId="786"/>
            <ac:spMk id="37" creationId="{A4F1B8E5-1F1F-4484-83C5-66DB6398F2FA}"/>
          </ac:spMkLst>
        </pc:spChg>
        <pc:spChg chg="add">
          <ac:chgData name="Mittermeier, Stefan" userId="94945143-6bbb-4fc1-b6eb-0ddcd12e4481" providerId="ADAL" clId="{13517B7C-9AFB-4918-ABE5-2ABAA5B6E0E3}" dt="2019-11-20T16:31:29.357" v="3930"/>
          <ac:spMkLst>
            <pc:docMk/>
            <pc:sldMk cId="3997307448" sldId="786"/>
            <ac:spMk id="42" creationId="{0EE579BA-F04E-4D33-A429-3E1B9CD833E2}"/>
          </ac:spMkLst>
        </pc:spChg>
        <pc:spChg chg="add">
          <ac:chgData name="Mittermeier, Stefan" userId="94945143-6bbb-4fc1-b6eb-0ddcd12e4481" providerId="ADAL" clId="{13517B7C-9AFB-4918-ABE5-2ABAA5B6E0E3}" dt="2019-11-20T16:31:29.357" v="3930"/>
          <ac:spMkLst>
            <pc:docMk/>
            <pc:sldMk cId="3997307448" sldId="786"/>
            <ac:spMk id="43" creationId="{5F8C034C-A80E-4302-B277-465279FE0998}"/>
          </ac:spMkLst>
        </pc:spChg>
        <pc:spChg chg="add">
          <ac:chgData name="Mittermeier, Stefan" userId="94945143-6bbb-4fc1-b6eb-0ddcd12e4481" providerId="ADAL" clId="{13517B7C-9AFB-4918-ABE5-2ABAA5B6E0E3}" dt="2019-11-20T16:31:29.357" v="3930"/>
          <ac:spMkLst>
            <pc:docMk/>
            <pc:sldMk cId="3997307448" sldId="786"/>
            <ac:spMk id="44" creationId="{973370F0-A9DA-4180-B2D9-1834AC3316BE}"/>
          </ac:spMkLst>
        </pc:spChg>
        <pc:spChg chg="add">
          <ac:chgData name="Mittermeier, Stefan" userId="94945143-6bbb-4fc1-b6eb-0ddcd12e4481" providerId="ADAL" clId="{13517B7C-9AFB-4918-ABE5-2ABAA5B6E0E3}" dt="2019-11-20T16:31:29.357" v="3930"/>
          <ac:spMkLst>
            <pc:docMk/>
            <pc:sldMk cId="3997307448" sldId="786"/>
            <ac:spMk id="45" creationId="{86C7C22B-DB50-4BF2-9118-BA77285F7718}"/>
          </ac:spMkLst>
        </pc:spChg>
        <pc:spChg chg="add">
          <ac:chgData name="Mittermeier, Stefan" userId="94945143-6bbb-4fc1-b6eb-0ddcd12e4481" providerId="ADAL" clId="{13517B7C-9AFB-4918-ABE5-2ABAA5B6E0E3}" dt="2019-11-20T16:31:29.357" v="3930"/>
          <ac:spMkLst>
            <pc:docMk/>
            <pc:sldMk cId="3997307448" sldId="786"/>
            <ac:spMk id="47" creationId="{FB978CAE-91B7-4EBD-ABEB-C5110BC95A6B}"/>
          </ac:spMkLst>
        </pc:spChg>
        <pc:spChg chg="add">
          <ac:chgData name="Mittermeier, Stefan" userId="94945143-6bbb-4fc1-b6eb-0ddcd12e4481" providerId="ADAL" clId="{13517B7C-9AFB-4918-ABE5-2ABAA5B6E0E3}" dt="2019-11-20T16:31:29.357" v="3930"/>
          <ac:spMkLst>
            <pc:docMk/>
            <pc:sldMk cId="3997307448" sldId="786"/>
            <ac:spMk id="48" creationId="{88CE24A6-11F0-4478-BD61-418CA29DC506}"/>
          </ac:spMkLst>
        </pc:spChg>
        <pc:spChg chg="add">
          <ac:chgData name="Mittermeier, Stefan" userId="94945143-6bbb-4fc1-b6eb-0ddcd12e4481" providerId="ADAL" clId="{13517B7C-9AFB-4918-ABE5-2ABAA5B6E0E3}" dt="2019-11-20T16:31:29.357" v="3930"/>
          <ac:spMkLst>
            <pc:docMk/>
            <pc:sldMk cId="3997307448" sldId="786"/>
            <ac:spMk id="49" creationId="{6782BA9C-6C44-4D09-8EC6-4B3376AB2A07}"/>
          </ac:spMkLst>
        </pc:spChg>
        <pc:spChg chg="add">
          <ac:chgData name="Mittermeier, Stefan" userId="94945143-6bbb-4fc1-b6eb-0ddcd12e4481" providerId="ADAL" clId="{13517B7C-9AFB-4918-ABE5-2ABAA5B6E0E3}" dt="2019-11-20T16:31:29.357" v="3930"/>
          <ac:spMkLst>
            <pc:docMk/>
            <pc:sldMk cId="3997307448" sldId="786"/>
            <ac:spMk id="50" creationId="{84CEC1A0-FF11-4ACD-AE66-3395C678DBD6}"/>
          </ac:spMkLst>
        </pc:spChg>
        <pc:spChg chg="add">
          <ac:chgData name="Mittermeier, Stefan" userId="94945143-6bbb-4fc1-b6eb-0ddcd12e4481" providerId="ADAL" clId="{13517B7C-9AFB-4918-ABE5-2ABAA5B6E0E3}" dt="2019-11-20T16:31:29.357" v="3930"/>
          <ac:spMkLst>
            <pc:docMk/>
            <pc:sldMk cId="3997307448" sldId="786"/>
            <ac:spMk id="52" creationId="{B2C5982E-B591-44D7-9946-EBC900573470}"/>
          </ac:spMkLst>
        </pc:spChg>
        <pc:spChg chg="add">
          <ac:chgData name="Mittermeier, Stefan" userId="94945143-6bbb-4fc1-b6eb-0ddcd12e4481" providerId="ADAL" clId="{13517B7C-9AFB-4918-ABE5-2ABAA5B6E0E3}" dt="2019-11-20T16:31:29.357" v="3930"/>
          <ac:spMkLst>
            <pc:docMk/>
            <pc:sldMk cId="3997307448" sldId="786"/>
            <ac:spMk id="53" creationId="{B7739AB2-A5AA-4CF1-AAD2-8D6BA95A5C00}"/>
          </ac:spMkLst>
        </pc:spChg>
        <pc:spChg chg="add">
          <ac:chgData name="Mittermeier, Stefan" userId="94945143-6bbb-4fc1-b6eb-0ddcd12e4481" providerId="ADAL" clId="{13517B7C-9AFB-4918-ABE5-2ABAA5B6E0E3}" dt="2019-11-20T16:31:29.357" v="3930"/>
          <ac:spMkLst>
            <pc:docMk/>
            <pc:sldMk cId="3997307448" sldId="786"/>
            <ac:spMk id="54" creationId="{A9D69DE8-F4FC-42E2-BB3A-65756B6D7F1C}"/>
          </ac:spMkLst>
        </pc:spChg>
        <pc:spChg chg="del">
          <ac:chgData name="Mittermeier, Stefan" userId="94945143-6bbb-4fc1-b6eb-0ddcd12e4481" providerId="ADAL" clId="{13517B7C-9AFB-4918-ABE5-2ABAA5B6E0E3}" dt="2019-11-20T15:40:18.892" v="3339" actId="478"/>
          <ac:spMkLst>
            <pc:docMk/>
            <pc:sldMk cId="3997307448" sldId="786"/>
            <ac:spMk id="55" creationId="{1B27B289-7E6B-4A7F-BE46-EAD9149D9D36}"/>
          </ac:spMkLst>
        </pc:spChg>
        <pc:spChg chg="del">
          <ac:chgData name="Mittermeier, Stefan" userId="94945143-6bbb-4fc1-b6eb-0ddcd12e4481" providerId="ADAL" clId="{13517B7C-9AFB-4918-ABE5-2ABAA5B6E0E3}" dt="2019-11-20T15:40:18.892" v="3339" actId="478"/>
          <ac:spMkLst>
            <pc:docMk/>
            <pc:sldMk cId="3997307448" sldId="786"/>
            <ac:spMk id="60" creationId="{A5FAB270-7469-4C6E-90A5-45F89810F94C}"/>
          </ac:spMkLst>
        </pc:spChg>
        <pc:spChg chg="del">
          <ac:chgData name="Mittermeier, Stefan" userId="94945143-6bbb-4fc1-b6eb-0ddcd12e4481" providerId="ADAL" clId="{13517B7C-9AFB-4918-ABE5-2ABAA5B6E0E3}" dt="2019-11-20T15:40:18.892" v="3339" actId="478"/>
          <ac:spMkLst>
            <pc:docMk/>
            <pc:sldMk cId="3997307448" sldId="786"/>
            <ac:spMk id="61" creationId="{2530EF0B-A868-431C-80E6-4F8AEA924B57}"/>
          </ac:spMkLst>
        </pc:spChg>
        <pc:spChg chg="del">
          <ac:chgData name="Mittermeier, Stefan" userId="94945143-6bbb-4fc1-b6eb-0ddcd12e4481" providerId="ADAL" clId="{13517B7C-9AFB-4918-ABE5-2ABAA5B6E0E3}" dt="2019-11-20T15:40:18.892" v="3339" actId="478"/>
          <ac:spMkLst>
            <pc:docMk/>
            <pc:sldMk cId="3997307448" sldId="786"/>
            <ac:spMk id="62" creationId="{37FC8A18-4F98-4566-A7FA-F13AFFEA411A}"/>
          </ac:spMkLst>
        </pc:spChg>
        <pc:spChg chg="del">
          <ac:chgData name="Mittermeier, Stefan" userId="94945143-6bbb-4fc1-b6eb-0ddcd12e4481" providerId="ADAL" clId="{13517B7C-9AFB-4918-ABE5-2ABAA5B6E0E3}" dt="2019-11-20T15:40:18.892" v="3339" actId="478"/>
          <ac:spMkLst>
            <pc:docMk/>
            <pc:sldMk cId="3997307448" sldId="786"/>
            <ac:spMk id="63" creationId="{50BBF7AE-4DA9-4353-A2D4-98C1DC517B50}"/>
          </ac:spMkLst>
        </pc:spChg>
        <pc:spChg chg="add del mod">
          <ac:chgData name="Mittermeier, Stefan" userId="94945143-6bbb-4fc1-b6eb-0ddcd12e4481" providerId="ADAL" clId="{13517B7C-9AFB-4918-ABE5-2ABAA5B6E0E3}" dt="2019-11-20T16:31:29.172" v="3929" actId="478"/>
          <ac:spMkLst>
            <pc:docMk/>
            <pc:sldMk cId="3997307448" sldId="786"/>
            <ac:spMk id="98" creationId="{2175A812-AE67-4A02-BD8F-3856C01F4237}"/>
          </ac:spMkLst>
        </pc:spChg>
        <pc:spChg chg="add del mod">
          <ac:chgData name="Mittermeier, Stefan" userId="94945143-6bbb-4fc1-b6eb-0ddcd12e4481" providerId="ADAL" clId="{13517B7C-9AFB-4918-ABE5-2ABAA5B6E0E3}" dt="2019-11-20T16:31:29.172" v="3929" actId="478"/>
          <ac:spMkLst>
            <pc:docMk/>
            <pc:sldMk cId="3997307448" sldId="786"/>
            <ac:spMk id="99" creationId="{5D33B839-D175-43FD-AEE5-0023D9011965}"/>
          </ac:spMkLst>
        </pc:spChg>
        <pc:spChg chg="add del mod">
          <ac:chgData name="Mittermeier, Stefan" userId="94945143-6bbb-4fc1-b6eb-0ddcd12e4481" providerId="ADAL" clId="{13517B7C-9AFB-4918-ABE5-2ABAA5B6E0E3}" dt="2019-11-20T16:31:29.172" v="3929" actId="478"/>
          <ac:spMkLst>
            <pc:docMk/>
            <pc:sldMk cId="3997307448" sldId="786"/>
            <ac:spMk id="100" creationId="{BE5329B6-AAEB-4B6E-B8B0-969F94558490}"/>
          </ac:spMkLst>
        </pc:spChg>
        <pc:spChg chg="add del mod">
          <ac:chgData name="Mittermeier, Stefan" userId="94945143-6bbb-4fc1-b6eb-0ddcd12e4481" providerId="ADAL" clId="{13517B7C-9AFB-4918-ABE5-2ABAA5B6E0E3}" dt="2019-11-20T16:31:29.172" v="3929" actId="478"/>
          <ac:spMkLst>
            <pc:docMk/>
            <pc:sldMk cId="3997307448" sldId="786"/>
            <ac:spMk id="107" creationId="{DC229364-8933-4DA9-9E7B-F35BAB0C8C18}"/>
          </ac:spMkLst>
        </pc:spChg>
        <pc:spChg chg="add del mod">
          <ac:chgData name="Mittermeier, Stefan" userId="94945143-6bbb-4fc1-b6eb-0ddcd12e4481" providerId="ADAL" clId="{13517B7C-9AFB-4918-ABE5-2ABAA5B6E0E3}" dt="2019-11-20T16:31:29.172" v="3929" actId="478"/>
          <ac:spMkLst>
            <pc:docMk/>
            <pc:sldMk cId="3997307448" sldId="786"/>
            <ac:spMk id="108" creationId="{FCA6926B-8469-474D-9E56-F122789438FF}"/>
          </ac:spMkLst>
        </pc:spChg>
        <pc:spChg chg="add del mod">
          <ac:chgData name="Mittermeier, Stefan" userId="94945143-6bbb-4fc1-b6eb-0ddcd12e4481" providerId="ADAL" clId="{13517B7C-9AFB-4918-ABE5-2ABAA5B6E0E3}" dt="2019-11-20T16:31:29.172" v="3929" actId="478"/>
          <ac:spMkLst>
            <pc:docMk/>
            <pc:sldMk cId="3997307448" sldId="786"/>
            <ac:spMk id="109" creationId="{E29C4868-8491-4AFF-BF83-EDB518666E13}"/>
          </ac:spMkLst>
        </pc:spChg>
        <pc:spChg chg="add del">
          <ac:chgData name="Mittermeier, Stefan" userId="94945143-6bbb-4fc1-b6eb-0ddcd12e4481" providerId="ADAL" clId="{13517B7C-9AFB-4918-ABE5-2ABAA5B6E0E3}" dt="2019-11-20T15:49:12.562" v="3447" actId="478"/>
          <ac:spMkLst>
            <pc:docMk/>
            <pc:sldMk cId="3997307448" sldId="786"/>
            <ac:spMk id="115" creationId="{1A669B56-0958-40EB-9814-29028C06694E}"/>
          </ac:spMkLst>
        </pc:spChg>
        <pc:spChg chg="add del">
          <ac:chgData name="Mittermeier, Stefan" userId="94945143-6bbb-4fc1-b6eb-0ddcd12e4481" providerId="ADAL" clId="{13517B7C-9AFB-4918-ABE5-2ABAA5B6E0E3}" dt="2019-11-20T15:49:12.562" v="3447" actId="478"/>
          <ac:spMkLst>
            <pc:docMk/>
            <pc:sldMk cId="3997307448" sldId="786"/>
            <ac:spMk id="116" creationId="{760F6143-CC8A-4C15-8858-4D68DCE0BA48}"/>
          </ac:spMkLst>
        </pc:spChg>
        <pc:spChg chg="add del">
          <ac:chgData name="Mittermeier, Stefan" userId="94945143-6bbb-4fc1-b6eb-0ddcd12e4481" providerId="ADAL" clId="{13517B7C-9AFB-4918-ABE5-2ABAA5B6E0E3}" dt="2019-11-20T15:49:12.562" v="3447" actId="478"/>
          <ac:spMkLst>
            <pc:docMk/>
            <pc:sldMk cId="3997307448" sldId="786"/>
            <ac:spMk id="117" creationId="{FFC95A9B-FDCA-41ED-9E3D-6A805BD75423}"/>
          </ac:spMkLst>
        </pc:spChg>
        <pc:spChg chg="add del mod">
          <ac:chgData name="Mittermeier, Stefan" userId="94945143-6bbb-4fc1-b6eb-0ddcd12e4481" providerId="ADAL" clId="{13517B7C-9AFB-4918-ABE5-2ABAA5B6E0E3}" dt="2019-11-20T16:31:29.172" v="3929" actId="478"/>
          <ac:spMkLst>
            <pc:docMk/>
            <pc:sldMk cId="3997307448" sldId="786"/>
            <ac:spMk id="133" creationId="{FA0B8CA7-E85A-428A-9ED1-AC6E8091389A}"/>
          </ac:spMkLst>
        </pc:spChg>
        <pc:spChg chg="add del mod">
          <ac:chgData name="Mittermeier, Stefan" userId="94945143-6bbb-4fc1-b6eb-0ddcd12e4481" providerId="ADAL" clId="{13517B7C-9AFB-4918-ABE5-2ABAA5B6E0E3}" dt="2019-11-20T16:31:29.172" v="3929" actId="478"/>
          <ac:spMkLst>
            <pc:docMk/>
            <pc:sldMk cId="3997307448" sldId="786"/>
            <ac:spMk id="134" creationId="{DFA0781E-BB0C-4B4C-83A7-5AD6BCE2C09B}"/>
          </ac:spMkLst>
        </pc:spChg>
        <pc:spChg chg="add del mod">
          <ac:chgData name="Mittermeier, Stefan" userId="94945143-6bbb-4fc1-b6eb-0ddcd12e4481" providerId="ADAL" clId="{13517B7C-9AFB-4918-ABE5-2ABAA5B6E0E3}" dt="2019-11-20T16:31:29.172" v="3929" actId="478"/>
          <ac:spMkLst>
            <pc:docMk/>
            <pc:sldMk cId="3997307448" sldId="786"/>
            <ac:spMk id="135" creationId="{E8FF3E50-FE0D-46D2-A36F-4A66A0D7DCE5}"/>
          </ac:spMkLst>
        </pc:spChg>
        <pc:spChg chg="add del mod">
          <ac:chgData name="Mittermeier, Stefan" userId="94945143-6bbb-4fc1-b6eb-0ddcd12e4481" providerId="ADAL" clId="{13517B7C-9AFB-4918-ABE5-2ABAA5B6E0E3}" dt="2019-11-20T16:31:29.172" v="3929" actId="478"/>
          <ac:spMkLst>
            <pc:docMk/>
            <pc:sldMk cId="3997307448" sldId="786"/>
            <ac:spMk id="139" creationId="{DAA56E71-A234-4946-8A0A-996BFFBC362B}"/>
          </ac:spMkLst>
        </pc:spChg>
        <pc:spChg chg="add del mod">
          <ac:chgData name="Mittermeier, Stefan" userId="94945143-6bbb-4fc1-b6eb-0ddcd12e4481" providerId="ADAL" clId="{13517B7C-9AFB-4918-ABE5-2ABAA5B6E0E3}" dt="2019-11-20T16:31:29.172" v="3929" actId="478"/>
          <ac:spMkLst>
            <pc:docMk/>
            <pc:sldMk cId="3997307448" sldId="786"/>
            <ac:spMk id="140" creationId="{C98F674A-1129-4FE3-8170-920B6BCB3017}"/>
          </ac:spMkLst>
        </pc:spChg>
        <pc:spChg chg="add del mod">
          <ac:chgData name="Mittermeier, Stefan" userId="94945143-6bbb-4fc1-b6eb-0ddcd12e4481" providerId="ADAL" clId="{13517B7C-9AFB-4918-ABE5-2ABAA5B6E0E3}" dt="2019-11-20T16:31:29.172" v="3929" actId="478"/>
          <ac:spMkLst>
            <pc:docMk/>
            <pc:sldMk cId="3997307448" sldId="786"/>
            <ac:spMk id="141" creationId="{1A5E1254-3C55-48BC-AABF-97B807864123}"/>
          </ac:spMkLst>
        </pc:spChg>
        <pc:spChg chg="add del mod">
          <ac:chgData name="Mittermeier, Stefan" userId="94945143-6bbb-4fc1-b6eb-0ddcd12e4481" providerId="ADAL" clId="{13517B7C-9AFB-4918-ABE5-2ABAA5B6E0E3}" dt="2019-11-20T16:31:29.172" v="3929" actId="478"/>
          <ac:spMkLst>
            <pc:docMk/>
            <pc:sldMk cId="3997307448" sldId="786"/>
            <ac:spMk id="142" creationId="{0D269E1D-117B-47CF-A5C3-2E8DDC4DC632}"/>
          </ac:spMkLst>
        </pc:spChg>
        <pc:spChg chg="del">
          <ac:chgData name="Mittermeier, Stefan" userId="94945143-6bbb-4fc1-b6eb-0ddcd12e4481" providerId="ADAL" clId="{13517B7C-9AFB-4918-ABE5-2ABAA5B6E0E3}" dt="2019-11-20T15:40:18.892" v="3339" actId="478"/>
          <ac:spMkLst>
            <pc:docMk/>
            <pc:sldMk cId="3997307448" sldId="786"/>
            <ac:spMk id="144" creationId="{14CE986A-39C3-4AE5-9BFB-B7AA87A3CA22}"/>
          </ac:spMkLst>
        </pc:spChg>
        <pc:spChg chg="add del mod">
          <ac:chgData name="Mittermeier, Stefan" userId="94945143-6bbb-4fc1-b6eb-0ddcd12e4481" providerId="ADAL" clId="{13517B7C-9AFB-4918-ABE5-2ABAA5B6E0E3}" dt="2019-11-20T15:50:50.295" v="3537" actId="478"/>
          <ac:spMkLst>
            <pc:docMk/>
            <pc:sldMk cId="3997307448" sldId="786"/>
            <ac:spMk id="146" creationId="{F87FC4CA-B9DF-442F-9139-331015925C7A}"/>
          </ac:spMkLst>
        </pc:spChg>
        <pc:spChg chg="add del mod">
          <ac:chgData name="Mittermeier, Stefan" userId="94945143-6bbb-4fc1-b6eb-0ddcd12e4481" providerId="ADAL" clId="{13517B7C-9AFB-4918-ABE5-2ABAA5B6E0E3}" dt="2019-11-20T16:31:29.172" v="3929" actId="478"/>
          <ac:spMkLst>
            <pc:docMk/>
            <pc:sldMk cId="3997307448" sldId="786"/>
            <ac:spMk id="149" creationId="{DA75EFD6-B137-48AB-873A-5E49542048FE}"/>
          </ac:spMkLst>
        </pc:spChg>
        <pc:spChg chg="add del mod">
          <ac:chgData name="Mittermeier, Stefan" userId="94945143-6bbb-4fc1-b6eb-0ddcd12e4481" providerId="ADAL" clId="{13517B7C-9AFB-4918-ABE5-2ABAA5B6E0E3}" dt="2019-11-20T16:31:29.172" v="3929" actId="478"/>
          <ac:spMkLst>
            <pc:docMk/>
            <pc:sldMk cId="3997307448" sldId="786"/>
            <ac:spMk id="150" creationId="{C68B99A1-D551-4B3D-9B16-E6432CE04996}"/>
          </ac:spMkLst>
        </pc:spChg>
        <pc:spChg chg="add del mod">
          <ac:chgData name="Mittermeier, Stefan" userId="94945143-6bbb-4fc1-b6eb-0ddcd12e4481" providerId="ADAL" clId="{13517B7C-9AFB-4918-ABE5-2ABAA5B6E0E3}" dt="2019-11-20T16:31:29.172" v="3929" actId="478"/>
          <ac:spMkLst>
            <pc:docMk/>
            <pc:sldMk cId="3997307448" sldId="786"/>
            <ac:spMk id="151" creationId="{FF57498A-2CD5-4AED-8132-0AE81FCBE0CF}"/>
          </ac:spMkLst>
        </pc:spChg>
        <pc:spChg chg="add mod">
          <ac:chgData name="Mittermeier, Stefan" userId="94945143-6bbb-4fc1-b6eb-0ddcd12e4481" providerId="ADAL" clId="{13517B7C-9AFB-4918-ABE5-2ABAA5B6E0E3}" dt="2019-12-03T08:17:02.515" v="4714" actId="1076"/>
          <ac:spMkLst>
            <pc:docMk/>
            <pc:sldMk cId="3997307448" sldId="786"/>
            <ac:spMk id="154" creationId="{7C097D48-40FE-4A41-BFF8-DF2E81B70706}"/>
          </ac:spMkLst>
        </pc:spChg>
        <pc:spChg chg="mod">
          <ac:chgData name="Mittermeier, Stefan" userId="94945143-6bbb-4fc1-b6eb-0ddcd12e4481" providerId="ADAL" clId="{13517B7C-9AFB-4918-ABE5-2ABAA5B6E0E3}" dt="2019-11-20T15:58:08.852" v="3856" actId="20577"/>
          <ac:spMkLst>
            <pc:docMk/>
            <pc:sldMk cId="3997307448" sldId="786"/>
            <ac:spMk id="159" creationId="{49365DAD-127E-40DB-9F49-9C1B3DFD6ABB}"/>
          </ac:spMkLst>
        </pc:spChg>
        <pc:spChg chg="del">
          <ac:chgData name="Mittermeier, Stefan" userId="94945143-6bbb-4fc1-b6eb-0ddcd12e4481" providerId="ADAL" clId="{13517B7C-9AFB-4918-ABE5-2ABAA5B6E0E3}" dt="2019-11-20T15:40:18.892" v="3339" actId="478"/>
          <ac:spMkLst>
            <pc:docMk/>
            <pc:sldMk cId="3997307448" sldId="786"/>
            <ac:spMk id="167" creationId="{339E41C2-6719-4666-9D42-6CFA60F66369}"/>
          </ac:spMkLst>
        </pc:spChg>
        <pc:spChg chg="del">
          <ac:chgData name="Mittermeier, Stefan" userId="94945143-6bbb-4fc1-b6eb-0ddcd12e4481" providerId="ADAL" clId="{13517B7C-9AFB-4918-ABE5-2ABAA5B6E0E3}" dt="2019-11-20T15:40:18.892" v="3339" actId="478"/>
          <ac:spMkLst>
            <pc:docMk/>
            <pc:sldMk cId="3997307448" sldId="786"/>
            <ac:spMk id="168" creationId="{7BFF62D5-645D-45A2-B649-B72834D840CC}"/>
          </ac:spMkLst>
        </pc:spChg>
        <pc:spChg chg="del">
          <ac:chgData name="Mittermeier, Stefan" userId="94945143-6bbb-4fc1-b6eb-0ddcd12e4481" providerId="ADAL" clId="{13517B7C-9AFB-4918-ABE5-2ABAA5B6E0E3}" dt="2019-11-20T15:40:18.892" v="3339" actId="478"/>
          <ac:spMkLst>
            <pc:docMk/>
            <pc:sldMk cId="3997307448" sldId="786"/>
            <ac:spMk id="174" creationId="{38638185-5805-4ABF-9341-8E9370D62ED7}"/>
          </ac:spMkLst>
        </pc:spChg>
        <pc:spChg chg="del">
          <ac:chgData name="Mittermeier, Stefan" userId="94945143-6bbb-4fc1-b6eb-0ddcd12e4481" providerId="ADAL" clId="{13517B7C-9AFB-4918-ABE5-2ABAA5B6E0E3}" dt="2019-11-20T15:40:18.892" v="3339" actId="478"/>
          <ac:spMkLst>
            <pc:docMk/>
            <pc:sldMk cId="3997307448" sldId="786"/>
            <ac:spMk id="178" creationId="{07C90772-312A-4F2E-A74C-155017043376}"/>
          </ac:spMkLst>
        </pc:spChg>
        <pc:spChg chg="del">
          <ac:chgData name="Mittermeier, Stefan" userId="94945143-6bbb-4fc1-b6eb-0ddcd12e4481" providerId="ADAL" clId="{13517B7C-9AFB-4918-ABE5-2ABAA5B6E0E3}" dt="2019-11-20T15:40:18.892" v="3339" actId="478"/>
          <ac:spMkLst>
            <pc:docMk/>
            <pc:sldMk cId="3997307448" sldId="786"/>
            <ac:spMk id="196" creationId="{5D2F274B-9DD0-44F1-A9AC-99BC159AE18D}"/>
          </ac:spMkLst>
        </pc:spChg>
        <pc:spChg chg="del">
          <ac:chgData name="Mittermeier, Stefan" userId="94945143-6bbb-4fc1-b6eb-0ddcd12e4481" providerId="ADAL" clId="{13517B7C-9AFB-4918-ABE5-2ABAA5B6E0E3}" dt="2019-11-20T15:40:18.892" v="3339" actId="478"/>
          <ac:spMkLst>
            <pc:docMk/>
            <pc:sldMk cId="3997307448" sldId="786"/>
            <ac:spMk id="197" creationId="{EB61AA5E-43F7-49EC-A2A3-6C91EEE5F19D}"/>
          </ac:spMkLst>
        </pc:spChg>
        <pc:spChg chg="del">
          <ac:chgData name="Mittermeier, Stefan" userId="94945143-6bbb-4fc1-b6eb-0ddcd12e4481" providerId="ADAL" clId="{13517B7C-9AFB-4918-ABE5-2ABAA5B6E0E3}" dt="2019-11-20T15:40:18.892" v="3339" actId="478"/>
          <ac:spMkLst>
            <pc:docMk/>
            <pc:sldMk cId="3997307448" sldId="786"/>
            <ac:spMk id="198" creationId="{8A59AA09-EA59-4A84-AF43-19A308F642EE}"/>
          </ac:spMkLst>
        </pc:spChg>
        <pc:spChg chg="del">
          <ac:chgData name="Mittermeier, Stefan" userId="94945143-6bbb-4fc1-b6eb-0ddcd12e4481" providerId="ADAL" clId="{13517B7C-9AFB-4918-ABE5-2ABAA5B6E0E3}" dt="2019-11-20T15:40:18.892" v="3339" actId="478"/>
          <ac:spMkLst>
            <pc:docMk/>
            <pc:sldMk cId="3997307448" sldId="786"/>
            <ac:spMk id="199" creationId="{C74F52BB-BA57-4F1B-AAFB-FA49247A0E4E}"/>
          </ac:spMkLst>
        </pc:spChg>
        <pc:spChg chg="del">
          <ac:chgData name="Mittermeier, Stefan" userId="94945143-6bbb-4fc1-b6eb-0ddcd12e4481" providerId="ADAL" clId="{13517B7C-9AFB-4918-ABE5-2ABAA5B6E0E3}" dt="2019-11-20T15:40:18.892" v="3339" actId="478"/>
          <ac:spMkLst>
            <pc:docMk/>
            <pc:sldMk cId="3997307448" sldId="786"/>
            <ac:spMk id="200" creationId="{E0985334-97DB-4829-81BB-BB885B7FE5C0}"/>
          </ac:spMkLst>
        </pc:spChg>
        <pc:spChg chg="del">
          <ac:chgData name="Mittermeier, Stefan" userId="94945143-6bbb-4fc1-b6eb-0ddcd12e4481" providerId="ADAL" clId="{13517B7C-9AFB-4918-ABE5-2ABAA5B6E0E3}" dt="2019-11-20T15:40:18.892" v="3339" actId="478"/>
          <ac:spMkLst>
            <pc:docMk/>
            <pc:sldMk cId="3997307448" sldId="786"/>
            <ac:spMk id="202" creationId="{00908F2B-10D5-4992-8BF5-A7E2C3D2B9F0}"/>
          </ac:spMkLst>
        </pc:spChg>
        <pc:spChg chg="del">
          <ac:chgData name="Mittermeier, Stefan" userId="94945143-6bbb-4fc1-b6eb-0ddcd12e4481" providerId="ADAL" clId="{13517B7C-9AFB-4918-ABE5-2ABAA5B6E0E3}" dt="2019-11-20T15:40:18.892" v="3339" actId="478"/>
          <ac:spMkLst>
            <pc:docMk/>
            <pc:sldMk cId="3997307448" sldId="786"/>
            <ac:spMk id="208" creationId="{2D49896F-3F05-4CEC-9695-F9D86EE81C5A}"/>
          </ac:spMkLst>
        </pc:spChg>
        <pc:spChg chg="del">
          <ac:chgData name="Mittermeier, Stefan" userId="94945143-6bbb-4fc1-b6eb-0ddcd12e4481" providerId="ADAL" clId="{13517B7C-9AFB-4918-ABE5-2ABAA5B6E0E3}" dt="2019-11-20T15:40:18.892" v="3339" actId="478"/>
          <ac:spMkLst>
            <pc:docMk/>
            <pc:sldMk cId="3997307448" sldId="786"/>
            <ac:spMk id="209" creationId="{9C85A905-6F6B-47A7-947D-0E077248486C}"/>
          </ac:spMkLst>
        </pc:spChg>
        <pc:spChg chg="del">
          <ac:chgData name="Mittermeier, Stefan" userId="94945143-6bbb-4fc1-b6eb-0ddcd12e4481" providerId="ADAL" clId="{13517B7C-9AFB-4918-ABE5-2ABAA5B6E0E3}" dt="2019-11-20T15:40:18.892" v="3339" actId="478"/>
          <ac:spMkLst>
            <pc:docMk/>
            <pc:sldMk cId="3997307448" sldId="786"/>
            <ac:spMk id="210" creationId="{4FB3F771-81B7-45D6-899D-6CE837407EF6}"/>
          </ac:spMkLst>
        </pc:spChg>
        <pc:spChg chg="del">
          <ac:chgData name="Mittermeier, Stefan" userId="94945143-6bbb-4fc1-b6eb-0ddcd12e4481" providerId="ADAL" clId="{13517B7C-9AFB-4918-ABE5-2ABAA5B6E0E3}" dt="2019-11-20T15:40:18.892" v="3339" actId="478"/>
          <ac:spMkLst>
            <pc:docMk/>
            <pc:sldMk cId="3997307448" sldId="786"/>
            <ac:spMk id="211" creationId="{609ECA01-8494-4FED-A87D-6F4BA26C3F89}"/>
          </ac:spMkLst>
        </pc:spChg>
        <pc:spChg chg="del">
          <ac:chgData name="Mittermeier, Stefan" userId="94945143-6bbb-4fc1-b6eb-0ddcd12e4481" providerId="ADAL" clId="{13517B7C-9AFB-4918-ABE5-2ABAA5B6E0E3}" dt="2019-11-20T15:40:18.892" v="3339" actId="478"/>
          <ac:spMkLst>
            <pc:docMk/>
            <pc:sldMk cId="3997307448" sldId="786"/>
            <ac:spMk id="226" creationId="{55F7C5E1-8D05-47CF-A5C3-FFB6C2082E39}"/>
          </ac:spMkLst>
        </pc:spChg>
        <pc:spChg chg="del">
          <ac:chgData name="Mittermeier, Stefan" userId="94945143-6bbb-4fc1-b6eb-0ddcd12e4481" providerId="ADAL" clId="{13517B7C-9AFB-4918-ABE5-2ABAA5B6E0E3}" dt="2019-11-20T15:40:18.892" v="3339" actId="478"/>
          <ac:spMkLst>
            <pc:docMk/>
            <pc:sldMk cId="3997307448" sldId="786"/>
            <ac:spMk id="227" creationId="{25AF102A-1518-44AA-9721-99B49B409216}"/>
          </ac:spMkLst>
        </pc:spChg>
        <pc:spChg chg="del">
          <ac:chgData name="Mittermeier, Stefan" userId="94945143-6bbb-4fc1-b6eb-0ddcd12e4481" providerId="ADAL" clId="{13517B7C-9AFB-4918-ABE5-2ABAA5B6E0E3}" dt="2019-11-20T15:40:18.892" v="3339" actId="478"/>
          <ac:spMkLst>
            <pc:docMk/>
            <pc:sldMk cId="3997307448" sldId="786"/>
            <ac:spMk id="228" creationId="{4968F648-0831-4FDD-BB20-E0DFB2FD8614}"/>
          </ac:spMkLst>
        </pc:spChg>
        <pc:spChg chg="del">
          <ac:chgData name="Mittermeier, Stefan" userId="94945143-6bbb-4fc1-b6eb-0ddcd12e4481" providerId="ADAL" clId="{13517B7C-9AFB-4918-ABE5-2ABAA5B6E0E3}" dt="2019-11-20T15:40:18.892" v="3339" actId="478"/>
          <ac:spMkLst>
            <pc:docMk/>
            <pc:sldMk cId="3997307448" sldId="786"/>
            <ac:spMk id="243" creationId="{EC445800-63D4-4343-90A1-272A73757C81}"/>
          </ac:spMkLst>
        </pc:spChg>
        <pc:spChg chg="del">
          <ac:chgData name="Mittermeier, Stefan" userId="94945143-6bbb-4fc1-b6eb-0ddcd12e4481" providerId="ADAL" clId="{13517B7C-9AFB-4918-ABE5-2ABAA5B6E0E3}" dt="2019-11-20T15:40:18.892" v="3339" actId="478"/>
          <ac:spMkLst>
            <pc:docMk/>
            <pc:sldMk cId="3997307448" sldId="786"/>
            <ac:spMk id="244" creationId="{0B221C10-5574-4543-BD7A-9DD957475058}"/>
          </ac:spMkLst>
        </pc:spChg>
        <pc:spChg chg="del">
          <ac:chgData name="Mittermeier, Stefan" userId="94945143-6bbb-4fc1-b6eb-0ddcd12e4481" providerId="ADAL" clId="{13517B7C-9AFB-4918-ABE5-2ABAA5B6E0E3}" dt="2019-11-20T15:40:18.892" v="3339" actId="478"/>
          <ac:spMkLst>
            <pc:docMk/>
            <pc:sldMk cId="3997307448" sldId="786"/>
            <ac:spMk id="245" creationId="{406D18E8-5B6C-495D-8A5D-767292D627DC}"/>
          </ac:spMkLst>
        </pc:spChg>
        <pc:spChg chg="del">
          <ac:chgData name="Mittermeier, Stefan" userId="94945143-6bbb-4fc1-b6eb-0ddcd12e4481" providerId="ADAL" clId="{13517B7C-9AFB-4918-ABE5-2ABAA5B6E0E3}" dt="2019-11-20T15:40:18.892" v="3339" actId="478"/>
          <ac:spMkLst>
            <pc:docMk/>
            <pc:sldMk cId="3997307448" sldId="786"/>
            <ac:spMk id="246" creationId="{308D9980-1FD3-452A-99EB-A621BCCB9FF5}"/>
          </ac:spMkLst>
        </pc:spChg>
        <pc:spChg chg="del">
          <ac:chgData name="Mittermeier, Stefan" userId="94945143-6bbb-4fc1-b6eb-0ddcd12e4481" providerId="ADAL" clId="{13517B7C-9AFB-4918-ABE5-2ABAA5B6E0E3}" dt="2019-11-20T15:40:18.892" v="3339" actId="478"/>
          <ac:spMkLst>
            <pc:docMk/>
            <pc:sldMk cId="3997307448" sldId="786"/>
            <ac:spMk id="247" creationId="{68D8020F-C9DB-4F40-8EA9-8FA0B19533C1}"/>
          </ac:spMkLst>
        </pc:spChg>
        <pc:spChg chg="del">
          <ac:chgData name="Mittermeier, Stefan" userId="94945143-6bbb-4fc1-b6eb-0ddcd12e4481" providerId="ADAL" clId="{13517B7C-9AFB-4918-ABE5-2ABAA5B6E0E3}" dt="2019-11-20T15:40:18.892" v="3339" actId="478"/>
          <ac:spMkLst>
            <pc:docMk/>
            <pc:sldMk cId="3997307448" sldId="786"/>
            <ac:spMk id="248" creationId="{17235CF9-81C3-4F22-9CE2-96DD2A8D45FE}"/>
          </ac:spMkLst>
        </pc:spChg>
        <pc:spChg chg="del">
          <ac:chgData name="Mittermeier, Stefan" userId="94945143-6bbb-4fc1-b6eb-0ddcd12e4481" providerId="ADAL" clId="{13517B7C-9AFB-4918-ABE5-2ABAA5B6E0E3}" dt="2019-11-20T15:40:18.892" v="3339" actId="478"/>
          <ac:spMkLst>
            <pc:docMk/>
            <pc:sldMk cId="3997307448" sldId="786"/>
            <ac:spMk id="252" creationId="{29A436D2-47E6-4596-9D76-01AA4F1A0AC9}"/>
          </ac:spMkLst>
        </pc:spChg>
        <pc:spChg chg="del">
          <ac:chgData name="Mittermeier, Stefan" userId="94945143-6bbb-4fc1-b6eb-0ddcd12e4481" providerId="ADAL" clId="{13517B7C-9AFB-4918-ABE5-2ABAA5B6E0E3}" dt="2019-11-20T15:40:18.892" v="3339" actId="478"/>
          <ac:spMkLst>
            <pc:docMk/>
            <pc:sldMk cId="3997307448" sldId="786"/>
            <ac:spMk id="253" creationId="{1A9D4B2B-8CC0-49D5-8BD0-54F58CA28EF8}"/>
          </ac:spMkLst>
        </pc:spChg>
        <pc:spChg chg="del">
          <ac:chgData name="Mittermeier, Stefan" userId="94945143-6bbb-4fc1-b6eb-0ddcd12e4481" providerId="ADAL" clId="{13517B7C-9AFB-4918-ABE5-2ABAA5B6E0E3}" dt="2019-11-20T15:40:18.892" v="3339" actId="478"/>
          <ac:spMkLst>
            <pc:docMk/>
            <pc:sldMk cId="3997307448" sldId="786"/>
            <ac:spMk id="254" creationId="{CAB5AEDE-8FAF-4B3B-B6C0-3EEC90045BFD}"/>
          </ac:spMkLst>
        </pc:spChg>
        <pc:spChg chg="del">
          <ac:chgData name="Mittermeier, Stefan" userId="94945143-6bbb-4fc1-b6eb-0ddcd12e4481" providerId="ADAL" clId="{13517B7C-9AFB-4918-ABE5-2ABAA5B6E0E3}" dt="2019-11-20T15:40:18.892" v="3339" actId="478"/>
          <ac:spMkLst>
            <pc:docMk/>
            <pc:sldMk cId="3997307448" sldId="786"/>
            <ac:spMk id="255" creationId="{6EA87FB0-59E6-4247-9153-E75CB544CA77}"/>
          </ac:spMkLst>
        </pc:spChg>
        <pc:spChg chg="del">
          <ac:chgData name="Mittermeier, Stefan" userId="94945143-6bbb-4fc1-b6eb-0ddcd12e4481" providerId="ADAL" clId="{13517B7C-9AFB-4918-ABE5-2ABAA5B6E0E3}" dt="2019-11-20T15:40:18.892" v="3339" actId="478"/>
          <ac:spMkLst>
            <pc:docMk/>
            <pc:sldMk cId="3997307448" sldId="786"/>
            <ac:spMk id="261" creationId="{41E4E228-9A2C-4A99-94BA-8ED6F7B2CB30}"/>
          </ac:spMkLst>
        </pc:spChg>
        <pc:spChg chg="del">
          <ac:chgData name="Mittermeier, Stefan" userId="94945143-6bbb-4fc1-b6eb-0ddcd12e4481" providerId="ADAL" clId="{13517B7C-9AFB-4918-ABE5-2ABAA5B6E0E3}" dt="2019-11-20T15:40:18.892" v="3339" actId="478"/>
          <ac:spMkLst>
            <pc:docMk/>
            <pc:sldMk cId="3997307448" sldId="786"/>
            <ac:spMk id="262" creationId="{49AC3A97-3AD3-4DCB-AA6D-BA603774AEEF}"/>
          </ac:spMkLst>
        </pc:spChg>
        <pc:spChg chg="del">
          <ac:chgData name="Mittermeier, Stefan" userId="94945143-6bbb-4fc1-b6eb-0ddcd12e4481" providerId="ADAL" clId="{13517B7C-9AFB-4918-ABE5-2ABAA5B6E0E3}" dt="2019-11-20T15:40:18.892" v="3339" actId="478"/>
          <ac:spMkLst>
            <pc:docMk/>
            <pc:sldMk cId="3997307448" sldId="786"/>
            <ac:spMk id="263" creationId="{9D3EF422-26B4-4DF3-99B5-0F550CEF46D5}"/>
          </ac:spMkLst>
        </pc:spChg>
        <pc:spChg chg="del">
          <ac:chgData name="Mittermeier, Stefan" userId="94945143-6bbb-4fc1-b6eb-0ddcd12e4481" providerId="ADAL" clId="{13517B7C-9AFB-4918-ABE5-2ABAA5B6E0E3}" dt="2019-11-20T15:40:18.892" v="3339" actId="478"/>
          <ac:spMkLst>
            <pc:docMk/>
            <pc:sldMk cId="3997307448" sldId="786"/>
            <ac:spMk id="264" creationId="{28C7F468-3184-4B14-A246-8AD10C33C20C}"/>
          </ac:spMkLst>
        </pc:spChg>
        <pc:spChg chg="del">
          <ac:chgData name="Mittermeier, Stefan" userId="94945143-6bbb-4fc1-b6eb-0ddcd12e4481" providerId="ADAL" clId="{13517B7C-9AFB-4918-ABE5-2ABAA5B6E0E3}" dt="2019-11-20T15:40:18.892" v="3339" actId="478"/>
          <ac:spMkLst>
            <pc:docMk/>
            <pc:sldMk cId="3997307448" sldId="786"/>
            <ac:spMk id="265" creationId="{F13718CA-6C7C-4826-BAAB-CFC8B2480076}"/>
          </ac:spMkLst>
        </pc:spChg>
        <pc:spChg chg="del">
          <ac:chgData name="Mittermeier, Stefan" userId="94945143-6bbb-4fc1-b6eb-0ddcd12e4481" providerId="ADAL" clId="{13517B7C-9AFB-4918-ABE5-2ABAA5B6E0E3}" dt="2019-11-20T15:40:18.892" v="3339" actId="478"/>
          <ac:spMkLst>
            <pc:docMk/>
            <pc:sldMk cId="3997307448" sldId="786"/>
            <ac:spMk id="24588" creationId="{DBC913F1-FE05-4FED-B9B1-A2CC3CF4BE36}"/>
          </ac:spMkLst>
        </pc:spChg>
        <pc:spChg chg="del">
          <ac:chgData name="Mittermeier, Stefan" userId="94945143-6bbb-4fc1-b6eb-0ddcd12e4481" providerId="ADAL" clId="{13517B7C-9AFB-4918-ABE5-2ABAA5B6E0E3}" dt="2019-11-20T15:40:18.892" v="3339" actId="478"/>
          <ac:spMkLst>
            <pc:docMk/>
            <pc:sldMk cId="3997307448" sldId="786"/>
            <ac:spMk id="24598" creationId="{637D0B69-1C9C-4D3D-8266-8664BFCCCD1D}"/>
          </ac:spMkLst>
        </pc:spChg>
        <pc:grpChg chg="del">
          <ac:chgData name="Mittermeier, Stefan" userId="94945143-6bbb-4fc1-b6eb-0ddcd12e4481" providerId="ADAL" clId="{13517B7C-9AFB-4918-ABE5-2ABAA5B6E0E3}" dt="2019-11-20T15:40:52.876" v="3342" actId="478"/>
          <ac:grpSpMkLst>
            <pc:docMk/>
            <pc:sldMk cId="3997307448" sldId="786"/>
            <ac:grpSpMk id="6" creationId="{1B6C7223-4859-49D4-B3EF-7E6D1042252B}"/>
          </ac:grpSpMkLst>
        </pc:grpChg>
        <pc:grpChg chg="del">
          <ac:chgData name="Mittermeier, Stefan" userId="94945143-6bbb-4fc1-b6eb-0ddcd12e4481" providerId="ADAL" clId="{13517B7C-9AFB-4918-ABE5-2ABAA5B6E0E3}" dt="2019-11-20T15:40:52.876" v="3342" actId="478"/>
          <ac:grpSpMkLst>
            <pc:docMk/>
            <pc:sldMk cId="3997307448" sldId="786"/>
            <ac:grpSpMk id="8" creationId="{8F8636D2-6B7F-48E9-8A1C-38FAD9E7997C}"/>
          </ac:grpSpMkLst>
        </pc:grpChg>
        <pc:grpChg chg="del">
          <ac:chgData name="Mittermeier, Stefan" userId="94945143-6bbb-4fc1-b6eb-0ddcd12e4481" providerId="ADAL" clId="{13517B7C-9AFB-4918-ABE5-2ABAA5B6E0E3}" dt="2019-11-20T15:40:52.876" v="3342" actId="478"/>
          <ac:grpSpMkLst>
            <pc:docMk/>
            <pc:sldMk cId="3997307448" sldId="786"/>
            <ac:grpSpMk id="35" creationId="{DCD93C25-9407-408F-AC8A-4FD46ABEF4A6}"/>
          </ac:grpSpMkLst>
        </pc:grpChg>
        <pc:grpChg chg="del">
          <ac:chgData name="Mittermeier, Stefan" userId="94945143-6bbb-4fc1-b6eb-0ddcd12e4481" providerId="ADAL" clId="{13517B7C-9AFB-4918-ABE5-2ABAA5B6E0E3}" dt="2019-11-20T15:40:52.876" v="3342" actId="478"/>
          <ac:grpSpMkLst>
            <pc:docMk/>
            <pc:sldMk cId="3997307448" sldId="786"/>
            <ac:grpSpMk id="38" creationId="{474F225C-5CEC-44D9-AF59-48D71D52AE27}"/>
          </ac:grpSpMkLst>
        </pc:grpChg>
        <pc:grpChg chg="del">
          <ac:chgData name="Mittermeier, Stefan" userId="94945143-6bbb-4fc1-b6eb-0ddcd12e4481" providerId="ADAL" clId="{13517B7C-9AFB-4918-ABE5-2ABAA5B6E0E3}" dt="2019-11-20T15:40:52.876" v="3342" actId="478"/>
          <ac:grpSpMkLst>
            <pc:docMk/>
            <pc:sldMk cId="3997307448" sldId="786"/>
            <ac:grpSpMk id="41" creationId="{500D3E19-8337-4118-AD1D-1DA3A57EF9A7}"/>
          </ac:grpSpMkLst>
        </pc:grpChg>
        <pc:grpChg chg="add del">
          <ac:chgData name="Mittermeier, Stefan" userId="94945143-6bbb-4fc1-b6eb-0ddcd12e4481" providerId="ADAL" clId="{13517B7C-9AFB-4918-ABE5-2ABAA5B6E0E3}" dt="2019-11-20T15:45:37.466" v="3343" actId="478"/>
          <ac:grpSpMkLst>
            <pc:docMk/>
            <pc:sldMk cId="3997307448" sldId="786"/>
            <ac:grpSpMk id="101" creationId="{C539251A-E2E1-4D3A-9827-A90EED7F1D18}"/>
          </ac:grpSpMkLst>
        </pc:grpChg>
        <pc:grpChg chg="add del">
          <ac:chgData name="Mittermeier, Stefan" userId="94945143-6bbb-4fc1-b6eb-0ddcd12e4481" providerId="ADAL" clId="{13517B7C-9AFB-4918-ABE5-2ABAA5B6E0E3}" dt="2019-11-20T15:47:32.353" v="3380" actId="478"/>
          <ac:grpSpMkLst>
            <pc:docMk/>
            <pc:sldMk cId="3997307448" sldId="786"/>
            <ac:grpSpMk id="111" creationId="{3DA80F86-ADAD-4A0C-8C3E-EB86CDE33BA1}"/>
          </ac:grpSpMkLst>
        </pc:grpChg>
        <pc:grpChg chg="add del">
          <ac:chgData name="Mittermeier, Stefan" userId="94945143-6bbb-4fc1-b6eb-0ddcd12e4481" providerId="ADAL" clId="{13517B7C-9AFB-4918-ABE5-2ABAA5B6E0E3}" dt="2019-11-20T15:40:49.396" v="3341" actId="478"/>
          <ac:grpSpMkLst>
            <pc:docMk/>
            <pc:sldMk cId="3997307448" sldId="786"/>
            <ac:grpSpMk id="119" creationId="{6E4AAC8B-5752-4F6F-8FBA-0046815D1768}"/>
          </ac:grpSpMkLst>
        </pc:grpChg>
        <pc:grpChg chg="add del">
          <ac:chgData name="Mittermeier, Stefan" userId="94945143-6bbb-4fc1-b6eb-0ddcd12e4481" providerId="ADAL" clId="{13517B7C-9AFB-4918-ABE5-2ABAA5B6E0E3}" dt="2019-11-20T15:40:49.396" v="3341" actId="478"/>
          <ac:grpSpMkLst>
            <pc:docMk/>
            <pc:sldMk cId="3997307448" sldId="786"/>
            <ac:grpSpMk id="123" creationId="{7A7CCB3E-6825-4D2A-A780-72A1B13E0ECD}"/>
          </ac:grpSpMkLst>
        </pc:grpChg>
        <pc:grpChg chg="add">
          <ac:chgData name="Mittermeier, Stefan" userId="94945143-6bbb-4fc1-b6eb-0ddcd12e4481" providerId="ADAL" clId="{13517B7C-9AFB-4918-ABE5-2ABAA5B6E0E3}" dt="2019-11-20T15:57:13.772" v="3713"/>
          <ac:grpSpMkLst>
            <pc:docMk/>
            <pc:sldMk cId="3997307448" sldId="786"/>
            <ac:grpSpMk id="158" creationId="{631ACDCB-5F74-4922-B966-C0C8F9C39ECD}"/>
          </ac:grpSpMkLst>
        </pc:grpChg>
        <pc:grpChg chg="del">
          <ac:chgData name="Mittermeier, Stefan" userId="94945143-6bbb-4fc1-b6eb-0ddcd12e4481" providerId="ADAL" clId="{13517B7C-9AFB-4918-ABE5-2ABAA5B6E0E3}" dt="2019-11-20T15:40:18.892" v="3339" actId="478"/>
          <ac:grpSpMkLst>
            <pc:docMk/>
            <pc:sldMk cId="3997307448" sldId="786"/>
            <ac:grpSpMk id="187" creationId="{24E4F7AC-9DE8-4E16-9FB7-EC6C0F458EC2}"/>
          </ac:grpSpMkLst>
        </pc:grpChg>
        <pc:grpChg chg="del">
          <ac:chgData name="Mittermeier, Stefan" userId="94945143-6bbb-4fc1-b6eb-0ddcd12e4481" providerId="ADAL" clId="{13517B7C-9AFB-4918-ABE5-2ABAA5B6E0E3}" dt="2019-11-20T15:40:18.892" v="3339" actId="478"/>
          <ac:grpSpMkLst>
            <pc:docMk/>
            <pc:sldMk cId="3997307448" sldId="786"/>
            <ac:grpSpMk id="190" creationId="{B81FAA6E-546D-4613-BB47-60B283FFE194}"/>
          </ac:grpSpMkLst>
        </pc:grpChg>
        <pc:grpChg chg="del">
          <ac:chgData name="Mittermeier, Stefan" userId="94945143-6bbb-4fc1-b6eb-0ddcd12e4481" providerId="ADAL" clId="{13517B7C-9AFB-4918-ABE5-2ABAA5B6E0E3}" dt="2019-11-20T15:40:18.892" v="3339" actId="478"/>
          <ac:grpSpMkLst>
            <pc:docMk/>
            <pc:sldMk cId="3997307448" sldId="786"/>
            <ac:grpSpMk id="229" creationId="{2EBF497A-FEF1-43AA-B2A2-ECC5E07FB547}"/>
          </ac:grpSpMkLst>
        </pc:grpChg>
        <pc:grpChg chg="del">
          <ac:chgData name="Mittermeier, Stefan" userId="94945143-6bbb-4fc1-b6eb-0ddcd12e4481" providerId="ADAL" clId="{13517B7C-9AFB-4918-ABE5-2ABAA5B6E0E3}" dt="2019-11-20T15:40:18.892" v="3339" actId="478"/>
          <ac:grpSpMkLst>
            <pc:docMk/>
            <pc:sldMk cId="3997307448" sldId="786"/>
            <ac:grpSpMk id="232" creationId="{5B6A5D4F-5082-47FF-AB86-ADBA8CFAD4B8}"/>
          </ac:grpSpMkLst>
        </pc:grpChg>
        <pc:grpChg chg="del">
          <ac:chgData name="Mittermeier, Stefan" userId="94945143-6bbb-4fc1-b6eb-0ddcd12e4481" providerId="ADAL" clId="{13517B7C-9AFB-4918-ABE5-2ABAA5B6E0E3}" dt="2019-11-20T15:40:18.892" v="3339" actId="478"/>
          <ac:grpSpMkLst>
            <pc:docMk/>
            <pc:sldMk cId="3997307448" sldId="786"/>
            <ac:grpSpMk id="235" creationId="{436816B0-769D-4FEA-8AB5-F11195BF92AF}"/>
          </ac:grpSpMkLst>
        </pc:grpChg>
        <pc:grpChg chg="del">
          <ac:chgData name="Mittermeier, Stefan" userId="94945143-6bbb-4fc1-b6eb-0ddcd12e4481" providerId="ADAL" clId="{13517B7C-9AFB-4918-ABE5-2ABAA5B6E0E3}" dt="2019-11-20T15:40:18.892" v="3339" actId="478"/>
          <ac:grpSpMkLst>
            <pc:docMk/>
            <pc:sldMk cId="3997307448" sldId="786"/>
            <ac:grpSpMk id="238" creationId="{C96CB050-822F-4180-9922-30EED952CA21}"/>
          </ac:grpSpMkLst>
        </pc:grpChg>
        <pc:grpChg chg="del">
          <ac:chgData name="Mittermeier, Stefan" userId="94945143-6bbb-4fc1-b6eb-0ddcd12e4481" providerId="ADAL" clId="{13517B7C-9AFB-4918-ABE5-2ABAA5B6E0E3}" dt="2019-11-20T15:40:18.892" v="3339" actId="478"/>
          <ac:grpSpMkLst>
            <pc:docMk/>
            <pc:sldMk cId="3997307448" sldId="786"/>
            <ac:grpSpMk id="249" creationId="{69F2E834-D59C-4EC1-B12B-C56DC4EE5770}"/>
          </ac:grpSpMkLst>
        </pc:grpChg>
        <pc:grpChg chg="del">
          <ac:chgData name="Mittermeier, Stefan" userId="94945143-6bbb-4fc1-b6eb-0ddcd12e4481" providerId="ADAL" clId="{13517B7C-9AFB-4918-ABE5-2ABAA5B6E0E3}" dt="2019-11-20T15:40:18.892" v="3339" actId="478"/>
          <ac:grpSpMkLst>
            <pc:docMk/>
            <pc:sldMk cId="3997307448" sldId="786"/>
            <ac:grpSpMk id="24584" creationId="{C169E089-436C-4A29-8F8F-4B8D798E92D0}"/>
          </ac:grpSpMkLst>
        </pc:grpChg>
        <pc:grpChg chg="del">
          <ac:chgData name="Mittermeier, Stefan" userId="94945143-6bbb-4fc1-b6eb-0ddcd12e4481" providerId="ADAL" clId="{13517B7C-9AFB-4918-ABE5-2ABAA5B6E0E3}" dt="2019-11-20T15:40:18.892" v="3339" actId="478"/>
          <ac:grpSpMkLst>
            <pc:docMk/>
            <pc:sldMk cId="3997307448" sldId="786"/>
            <ac:grpSpMk id="24585" creationId="{EA8E3C85-FB5E-41F7-B528-EA39BA3A3F74}"/>
          </ac:grpSpMkLst>
        </pc:grpChg>
        <pc:grpChg chg="del">
          <ac:chgData name="Mittermeier, Stefan" userId="94945143-6bbb-4fc1-b6eb-0ddcd12e4481" providerId="ADAL" clId="{13517B7C-9AFB-4918-ABE5-2ABAA5B6E0E3}" dt="2019-11-20T15:40:18.892" v="3339" actId="478"/>
          <ac:grpSpMkLst>
            <pc:docMk/>
            <pc:sldMk cId="3997307448" sldId="786"/>
            <ac:grpSpMk id="24587" creationId="{F6FEECA0-9D71-474E-89E0-A0FE132C83F2}"/>
          </ac:grpSpMkLst>
        </pc:grpChg>
        <pc:picChg chg="add del mod">
          <ac:chgData name="Mittermeier, Stefan" userId="94945143-6bbb-4fc1-b6eb-0ddcd12e4481" providerId="ADAL" clId="{13517B7C-9AFB-4918-ABE5-2ABAA5B6E0E3}" dt="2019-11-20T16:31:29.172" v="3929" actId="478"/>
          <ac:picMkLst>
            <pc:docMk/>
            <pc:sldMk cId="3997307448" sldId="786"/>
            <ac:picMk id="4" creationId="{2B219F9D-909F-4036-A3CC-CB58F24B95A9}"/>
          </ac:picMkLst>
        </pc:picChg>
        <pc:picChg chg="add">
          <ac:chgData name="Mittermeier, Stefan" userId="94945143-6bbb-4fc1-b6eb-0ddcd12e4481" providerId="ADAL" clId="{13517B7C-9AFB-4918-ABE5-2ABAA5B6E0E3}" dt="2019-11-20T16:31:29.357" v="3930"/>
          <ac:picMkLst>
            <pc:docMk/>
            <pc:sldMk cId="3997307448" sldId="786"/>
            <ac:picMk id="38" creationId="{4EFDEFF7-D55F-40F3-A8A1-7FDC9971C35D}"/>
          </ac:picMkLst>
        </pc:picChg>
        <pc:picChg chg="add">
          <ac:chgData name="Mittermeier, Stefan" userId="94945143-6bbb-4fc1-b6eb-0ddcd12e4481" providerId="ADAL" clId="{13517B7C-9AFB-4918-ABE5-2ABAA5B6E0E3}" dt="2019-11-20T16:31:29.357" v="3930"/>
          <ac:picMkLst>
            <pc:docMk/>
            <pc:sldMk cId="3997307448" sldId="786"/>
            <ac:picMk id="39" creationId="{98164DA3-68A8-4BD7-849B-CDA67CD10147}"/>
          </ac:picMkLst>
        </pc:picChg>
        <pc:picChg chg="add">
          <ac:chgData name="Mittermeier, Stefan" userId="94945143-6bbb-4fc1-b6eb-0ddcd12e4481" providerId="ADAL" clId="{13517B7C-9AFB-4918-ABE5-2ABAA5B6E0E3}" dt="2019-11-20T16:31:29.357" v="3930"/>
          <ac:picMkLst>
            <pc:docMk/>
            <pc:sldMk cId="3997307448" sldId="786"/>
            <ac:picMk id="40" creationId="{B45B8751-C65A-47E8-B72C-63F88965C401}"/>
          </ac:picMkLst>
        </pc:picChg>
        <pc:picChg chg="add">
          <ac:chgData name="Mittermeier, Stefan" userId="94945143-6bbb-4fc1-b6eb-0ddcd12e4481" providerId="ADAL" clId="{13517B7C-9AFB-4918-ABE5-2ABAA5B6E0E3}" dt="2019-11-20T16:31:29.357" v="3930"/>
          <ac:picMkLst>
            <pc:docMk/>
            <pc:sldMk cId="3997307448" sldId="786"/>
            <ac:picMk id="41" creationId="{6DA850BA-98AB-499D-94DE-D3F104E76D79}"/>
          </ac:picMkLst>
        </pc:picChg>
        <pc:picChg chg="add">
          <ac:chgData name="Mittermeier, Stefan" userId="94945143-6bbb-4fc1-b6eb-0ddcd12e4481" providerId="ADAL" clId="{13517B7C-9AFB-4918-ABE5-2ABAA5B6E0E3}" dt="2019-11-20T16:31:29.357" v="3930"/>
          <ac:picMkLst>
            <pc:docMk/>
            <pc:sldMk cId="3997307448" sldId="786"/>
            <ac:picMk id="46" creationId="{318E8C9C-F9DA-472A-9474-18911D3FCDA8}"/>
          </ac:picMkLst>
        </pc:picChg>
        <pc:picChg chg="add">
          <ac:chgData name="Mittermeier, Stefan" userId="94945143-6bbb-4fc1-b6eb-0ddcd12e4481" providerId="ADAL" clId="{13517B7C-9AFB-4918-ABE5-2ABAA5B6E0E3}" dt="2019-11-20T16:31:29.357" v="3930"/>
          <ac:picMkLst>
            <pc:docMk/>
            <pc:sldMk cId="3997307448" sldId="786"/>
            <ac:picMk id="51" creationId="{76D93C2E-C39B-496D-B8BC-57E058569A88}"/>
          </ac:picMkLst>
        </pc:picChg>
        <pc:picChg chg="add">
          <ac:chgData name="Mittermeier, Stefan" userId="94945143-6bbb-4fc1-b6eb-0ddcd12e4481" providerId="ADAL" clId="{13517B7C-9AFB-4918-ABE5-2ABAA5B6E0E3}" dt="2019-11-20T16:31:29.357" v="3930"/>
          <ac:picMkLst>
            <pc:docMk/>
            <pc:sldMk cId="3997307448" sldId="786"/>
            <ac:picMk id="55" creationId="{DA64C684-804C-48FF-9D53-E31911BCAFD9}"/>
          </ac:picMkLst>
        </pc:picChg>
        <pc:picChg chg="add">
          <ac:chgData name="Mittermeier, Stefan" userId="94945143-6bbb-4fc1-b6eb-0ddcd12e4481" providerId="ADAL" clId="{13517B7C-9AFB-4918-ABE5-2ABAA5B6E0E3}" dt="2019-11-20T16:31:29.357" v="3930"/>
          <ac:picMkLst>
            <pc:docMk/>
            <pc:sldMk cId="3997307448" sldId="786"/>
            <ac:picMk id="56" creationId="{7FDF4539-36C8-4D88-BAEC-E8F0FB3B5A96}"/>
          </ac:picMkLst>
        </pc:picChg>
        <pc:picChg chg="add del">
          <ac:chgData name="Mittermeier, Stefan" userId="94945143-6bbb-4fc1-b6eb-0ddcd12e4481" providerId="ADAL" clId="{13517B7C-9AFB-4918-ABE5-2ABAA5B6E0E3}" dt="2019-11-20T15:47:30.505" v="3379" actId="478"/>
          <ac:picMkLst>
            <pc:docMk/>
            <pc:sldMk cId="3997307448" sldId="786"/>
            <ac:picMk id="110" creationId="{7D0DE8AF-4D8E-49CD-AD6D-24A83EB727D8}"/>
          </ac:picMkLst>
        </pc:picChg>
        <pc:picChg chg="add del">
          <ac:chgData name="Mittermeier, Stefan" userId="94945143-6bbb-4fc1-b6eb-0ddcd12e4481" providerId="ADAL" clId="{13517B7C-9AFB-4918-ABE5-2ABAA5B6E0E3}" dt="2019-11-20T15:49:12.562" v="3447" actId="478"/>
          <ac:picMkLst>
            <pc:docMk/>
            <pc:sldMk cId="3997307448" sldId="786"/>
            <ac:picMk id="118" creationId="{8EF127E9-A5C1-4F1A-9E47-1772727202E6}"/>
          </ac:picMkLst>
        </pc:picChg>
        <pc:picChg chg="add del mod">
          <ac:chgData name="Mittermeier, Stefan" userId="94945143-6bbb-4fc1-b6eb-0ddcd12e4481" providerId="ADAL" clId="{13517B7C-9AFB-4918-ABE5-2ABAA5B6E0E3}" dt="2019-11-20T16:31:29.172" v="3929" actId="478"/>
          <ac:picMkLst>
            <pc:docMk/>
            <pc:sldMk cId="3997307448" sldId="786"/>
            <ac:picMk id="128" creationId="{F2664877-CDCA-4EA3-9412-399BD52B5CA7}"/>
          </ac:picMkLst>
        </pc:picChg>
        <pc:picChg chg="add del">
          <ac:chgData name="Mittermeier, Stefan" userId="94945143-6bbb-4fc1-b6eb-0ddcd12e4481" providerId="ADAL" clId="{13517B7C-9AFB-4918-ABE5-2ABAA5B6E0E3}" dt="2019-11-20T15:47:51.989" v="3385" actId="478"/>
          <ac:picMkLst>
            <pc:docMk/>
            <pc:sldMk cId="3997307448" sldId="786"/>
            <ac:picMk id="129" creationId="{361132DB-5B0B-4863-942D-EBE3FA6C656D}"/>
          </ac:picMkLst>
        </pc:picChg>
        <pc:picChg chg="add del mod">
          <ac:chgData name="Mittermeier, Stefan" userId="94945143-6bbb-4fc1-b6eb-0ddcd12e4481" providerId="ADAL" clId="{13517B7C-9AFB-4918-ABE5-2ABAA5B6E0E3}" dt="2019-11-20T16:31:29.172" v="3929" actId="478"/>
          <ac:picMkLst>
            <pc:docMk/>
            <pc:sldMk cId="3997307448" sldId="786"/>
            <ac:picMk id="130" creationId="{F28854F5-9D09-4508-9348-23B5A8A69587}"/>
          </ac:picMkLst>
        </pc:picChg>
        <pc:picChg chg="add del mod">
          <ac:chgData name="Mittermeier, Stefan" userId="94945143-6bbb-4fc1-b6eb-0ddcd12e4481" providerId="ADAL" clId="{13517B7C-9AFB-4918-ABE5-2ABAA5B6E0E3}" dt="2019-11-20T16:31:29.172" v="3929" actId="478"/>
          <ac:picMkLst>
            <pc:docMk/>
            <pc:sldMk cId="3997307448" sldId="786"/>
            <ac:picMk id="131" creationId="{4A4792F9-6FBC-42C7-ACFF-F7059292E3E5}"/>
          </ac:picMkLst>
        </pc:picChg>
        <pc:picChg chg="add del mod">
          <ac:chgData name="Mittermeier, Stefan" userId="94945143-6bbb-4fc1-b6eb-0ddcd12e4481" providerId="ADAL" clId="{13517B7C-9AFB-4918-ABE5-2ABAA5B6E0E3}" dt="2019-11-20T16:31:29.172" v="3929" actId="478"/>
          <ac:picMkLst>
            <pc:docMk/>
            <pc:sldMk cId="3997307448" sldId="786"/>
            <ac:picMk id="136" creationId="{96BA877A-2158-48AA-AFEE-F15048695AAD}"/>
          </ac:picMkLst>
        </pc:picChg>
        <pc:picChg chg="add del mod">
          <ac:chgData name="Mittermeier, Stefan" userId="94945143-6bbb-4fc1-b6eb-0ddcd12e4481" providerId="ADAL" clId="{13517B7C-9AFB-4918-ABE5-2ABAA5B6E0E3}" dt="2019-11-20T15:49:28.029" v="3451" actId="478"/>
          <ac:picMkLst>
            <pc:docMk/>
            <pc:sldMk cId="3997307448" sldId="786"/>
            <ac:picMk id="137" creationId="{8717AFC1-4E8F-4114-A2FE-43F861B5B309}"/>
          </ac:picMkLst>
        </pc:picChg>
        <pc:picChg chg="add del mod">
          <ac:chgData name="Mittermeier, Stefan" userId="94945143-6bbb-4fc1-b6eb-0ddcd12e4481" providerId="ADAL" clId="{13517B7C-9AFB-4918-ABE5-2ABAA5B6E0E3}" dt="2019-11-20T15:49:26.201" v="3450" actId="478"/>
          <ac:picMkLst>
            <pc:docMk/>
            <pc:sldMk cId="3997307448" sldId="786"/>
            <ac:picMk id="138" creationId="{DC34D4CB-11AA-4A7E-B42D-F508026386FD}"/>
          </ac:picMkLst>
        </pc:picChg>
        <pc:picChg chg="add del mod">
          <ac:chgData name="Mittermeier, Stefan" userId="94945143-6bbb-4fc1-b6eb-0ddcd12e4481" providerId="ADAL" clId="{13517B7C-9AFB-4918-ABE5-2ABAA5B6E0E3}" dt="2019-11-20T15:50:48.652" v="3536" actId="478"/>
          <ac:picMkLst>
            <pc:docMk/>
            <pc:sldMk cId="3997307448" sldId="786"/>
            <ac:picMk id="143" creationId="{6C0F7587-D3CC-46ED-A8AC-92A73F443CF7}"/>
          </ac:picMkLst>
        </pc:picChg>
        <pc:picChg chg="add del mod">
          <ac:chgData name="Mittermeier, Stefan" userId="94945143-6bbb-4fc1-b6eb-0ddcd12e4481" providerId="ADAL" clId="{13517B7C-9AFB-4918-ABE5-2ABAA5B6E0E3}" dt="2019-11-20T15:55:14.999" v="3685" actId="478"/>
          <ac:picMkLst>
            <pc:docMk/>
            <pc:sldMk cId="3997307448" sldId="786"/>
            <ac:picMk id="153" creationId="{B44CEE5F-9C9C-461F-8F42-34B6873303E3}"/>
          </ac:picMkLst>
        </pc:picChg>
        <pc:picChg chg="add del mod">
          <ac:chgData name="Mittermeier, Stefan" userId="94945143-6bbb-4fc1-b6eb-0ddcd12e4481" providerId="ADAL" clId="{13517B7C-9AFB-4918-ABE5-2ABAA5B6E0E3}" dt="2019-11-20T15:55:51.785" v="3689" actId="478"/>
          <ac:picMkLst>
            <pc:docMk/>
            <pc:sldMk cId="3997307448" sldId="786"/>
            <ac:picMk id="155" creationId="{6069FE44-D88B-4770-9D7A-504EF6F94751}"/>
          </ac:picMkLst>
        </pc:picChg>
        <pc:picChg chg="add del mod">
          <ac:chgData name="Mittermeier, Stefan" userId="94945143-6bbb-4fc1-b6eb-0ddcd12e4481" providerId="ADAL" clId="{13517B7C-9AFB-4918-ABE5-2ABAA5B6E0E3}" dt="2019-11-20T16:31:29.172" v="3929" actId="478"/>
          <ac:picMkLst>
            <pc:docMk/>
            <pc:sldMk cId="3997307448" sldId="786"/>
            <ac:picMk id="156" creationId="{A484B448-2286-4990-A535-6D483B758040}"/>
          </ac:picMkLst>
        </pc:picChg>
        <pc:picChg chg="add del mod">
          <ac:chgData name="Mittermeier, Stefan" userId="94945143-6bbb-4fc1-b6eb-0ddcd12e4481" providerId="ADAL" clId="{13517B7C-9AFB-4918-ABE5-2ABAA5B6E0E3}" dt="2019-11-20T16:31:29.172" v="3929" actId="478"/>
          <ac:picMkLst>
            <pc:docMk/>
            <pc:sldMk cId="3997307448" sldId="786"/>
            <ac:picMk id="157" creationId="{D0FA2831-7FC0-42F2-AFC4-ADBADE1E269A}"/>
          </ac:picMkLst>
        </pc:picChg>
        <pc:picChg chg="add del">
          <ac:chgData name="Mittermeier, Stefan" userId="94945143-6bbb-4fc1-b6eb-0ddcd12e4481" providerId="ADAL" clId="{13517B7C-9AFB-4918-ABE5-2ABAA5B6E0E3}" dt="2019-11-20T15:51:28.704" v="3542" actId="478"/>
          <ac:picMkLst>
            <pc:docMk/>
            <pc:sldMk cId="3997307448" sldId="786"/>
            <ac:picMk id="28676" creationId="{FF740975-1F9E-40C3-8F21-15655FCC6C1C}"/>
          </ac:picMkLst>
        </pc:picChg>
        <pc:picChg chg="add del">
          <ac:chgData name="Mittermeier, Stefan" userId="94945143-6bbb-4fc1-b6eb-0ddcd12e4481" providerId="ADAL" clId="{13517B7C-9AFB-4918-ABE5-2ABAA5B6E0E3}" dt="2019-11-20T15:51:37.998" v="3544" actId="478"/>
          <ac:picMkLst>
            <pc:docMk/>
            <pc:sldMk cId="3997307448" sldId="786"/>
            <ac:picMk id="28678" creationId="{0B6C7ACA-729E-4A2A-A79F-0D49AAE96B1B}"/>
          </ac:picMkLst>
        </pc:picChg>
        <pc:picChg chg="add del mod">
          <ac:chgData name="Mittermeier, Stefan" userId="94945143-6bbb-4fc1-b6eb-0ddcd12e4481" providerId="ADAL" clId="{13517B7C-9AFB-4918-ABE5-2ABAA5B6E0E3}" dt="2019-11-20T16:31:29.172" v="3929" actId="478"/>
          <ac:picMkLst>
            <pc:docMk/>
            <pc:sldMk cId="3997307448" sldId="786"/>
            <ac:picMk id="28680" creationId="{687A8CC6-A71C-41BD-81D1-E9360EDF33CB}"/>
          </ac:picMkLst>
        </pc:picChg>
        <pc:cxnChg chg="del">
          <ac:chgData name="Mittermeier, Stefan" userId="94945143-6bbb-4fc1-b6eb-0ddcd12e4481" providerId="ADAL" clId="{13517B7C-9AFB-4918-ABE5-2ABAA5B6E0E3}" dt="2019-11-20T15:40:18.892" v="3339" actId="478"/>
          <ac:cxnSpMkLst>
            <pc:docMk/>
            <pc:sldMk cId="3997307448" sldId="786"/>
            <ac:cxnSpMk id="10" creationId="{08D212B8-AC62-46F8-98A1-089EF99DB54C}"/>
          </ac:cxnSpMkLst>
        </pc:cxnChg>
        <pc:cxnChg chg="del">
          <ac:chgData name="Mittermeier, Stefan" userId="94945143-6bbb-4fc1-b6eb-0ddcd12e4481" providerId="ADAL" clId="{13517B7C-9AFB-4918-ABE5-2ABAA5B6E0E3}" dt="2019-11-20T15:40:18.892" v="3339" actId="478"/>
          <ac:cxnSpMkLst>
            <pc:docMk/>
            <pc:sldMk cId="3997307448" sldId="786"/>
            <ac:cxnSpMk id="88" creationId="{2476373E-D8CA-404E-BEA2-23B4F48EC7E6}"/>
          </ac:cxnSpMkLst>
        </pc:cxnChg>
        <pc:cxnChg chg="del">
          <ac:chgData name="Mittermeier, Stefan" userId="94945143-6bbb-4fc1-b6eb-0ddcd12e4481" providerId="ADAL" clId="{13517B7C-9AFB-4918-ABE5-2ABAA5B6E0E3}" dt="2019-11-20T15:40:18.892" v="3339" actId="478"/>
          <ac:cxnSpMkLst>
            <pc:docMk/>
            <pc:sldMk cId="3997307448" sldId="786"/>
            <ac:cxnSpMk id="145" creationId="{46B8F5E5-1C18-42A3-908B-40F5C54B5ECB}"/>
          </ac:cxnSpMkLst>
        </pc:cxnChg>
        <pc:cxnChg chg="del">
          <ac:chgData name="Mittermeier, Stefan" userId="94945143-6bbb-4fc1-b6eb-0ddcd12e4481" providerId="ADAL" clId="{13517B7C-9AFB-4918-ABE5-2ABAA5B6E0E3}" dt="2019-11-20T15:40:18.892" v="3339" actId="478"/>
          <ac:cxnSpMkLst>
            <pc:docMk/>
            <pc:sldMk cId="3997307448" sldId="786"/>
            <ac:cxnSpMk id="152" creationId="{EF921E87-581A-42C7-9A68-B44475435308}"/>
          </ac:cxnSpMkLst>
        </pc:cxnChg>
        <pc:cxnChg chg="del">
          <ac:chgData name="Mittermeier, Stefan" userId="94945143-6bbb-4fc1-b6eb-0ddcd12e4481" providerId="ADAL" clId="{13517B7C-9AFB-4918-ABE5-2ABAA5B6E0E3}" dt="2019-11-20T15:40:18.892" v="3339" actId="478"/>
          <ac:cxnSpMkLst>
            <pc:docMk/>
            <pc:sldMk cId="3997307448" sldId="786"/>
            <ac:cxnSpMk id="218" creationId="{873AE620-B970-44E0-B398-91C8D2A36D27}"/>
          </ac:cxnSpMkLst>
        </pc:cxnChg>
        <pc:cxnChg chg="del">
          <ac:chgData name="Mittermeier, Stefan" userId="94945143-6bbb-4fc1-b6eb-0ddcd12e4481" providerId="ADAL" clId="{13517B7C-9AFB-4918-ABE5-2ABAA5B6E0E3}" dt="2019-11-20T15:40:18.892" v="3339" actId="478"/>
          <ac:cxnSpMkLst>
            <pc:docMk/>
            <pc:sldMk cId="3997307448" sldId="786"/>
            <ac:cxnSpMk id="224" creationId="{E47BCC07-E716-4330-9876-75AF5F6749E1}"/>
          </ac:cxnSpMkLst>
        </pc:cxnChg>
        <pc:cxnChg chg="del">
          <ac:chgData name="Mittermeier, Stefan" userId="94945143-6bbb-4fc1-b6eb-0ddcd12e4481" providerId="ADAL" clId="{13517B7C-9AFB-4918-ABE5-2ABAA5B6E0E3}" dt="2019-11-20T15:40:18.892" v="3339" actId="478"/>
          <ac:cxnSpMkLst>
            <pc:docMk/>
            <pc:sldMk cId="3997307448" sldId="786"/>
            <ac:cxnSpMk id="256" creationId="{56832187-6B4F-436D-A8B1-A87C87847632}"/>
          </ac:cxnSpMkLst>
        </pc:cxnChg>
        <pc:cxnChg chg="del">
          <ac:chgData name="Mittermeier, Stefan" userId="94945143-6bbb-4fc1-b6eb-0ddcd12e4481" providerId="ADAL" clId="{13517B7C-9AFB-4918-ABE5-2ABAA5B6E0E3}" dt="2019-11-20T15:40:18.892" v="3339" actId="478"/>
          <ac:cxnSpMkLst>
            <pc:docMk/>
            <pc:sldMk cId="3997307448" sldId="786"/>
            <ac:cxnSpMk id="257" creationId="{A39CF1A2-5DDC-4139-9B28-B193A29FBADA}"/>
          </ac:cxnSpMkLst>
        </pc:cxnChg>
        <pc:cxnChg chg="del">
          <ac:chgData name="Mittermeier, Stefan" userId="94945143-6bbb-4fc1-b6eb-0ddcd12e4481" providerId="ADAL" clId="{13517B7C-9AFB-4918-ABE5-2ABAA5B6E0E3}" dt="2019-11-20T15:40:18.892" v="3339" actId="478"/>
          <ac:cxnSpMkLst>
            <pc:docMk/>
            <pc:sldMk cId="3997307448" sldId="786"/>
            <ac:cxnSpMk id="258" creationId="{6EF81D09-7CFE-4D11-B5D2-905BA9ACDCC1}"/>
          </ac:cxnSpMkLst>
        </pc:cxnChg>
        <pc:cxnChg chg="del">
          <ac:chgData name="Mittermeier, Stefan" userId="94945143-6bbb-4fc1-b6eb-0ddcd12e4481" providerId="ADAL" clId="{13517B7C-9AFB-4918-ABE5-2ABAA5B6E0E3}" dt="2019-11-20T15:40:18.892" v="3339" actId="478"/>
          <ac:cxnSpMkLst>
            <pc:docMk/>
            <pc:sldMk cId="3997307448" sldId="786"/>
            <ac:cxnSpMk id="260" creationId="{301C2CEF-7D76-434D-9DFD-3DB1741041F6}"/>
          </ac:cxnSpMkLst>
        </pc:cxnChg>
      </pc:sldChg>
      <pc:sldChg chg="addSp delSp modSp add ord">
        <pc:chgData name="Mittermeier, Stefan" userId="94945143-6bbb-4fc1-b6eb-0ddcd12e4481" providerId="ADAL" clId="{13517B7C-9AFB-4918-ABE5-2ABAA5B6E0E3}" dt="2019-12-03T08:42:06.083" v="4894" actId="1076"/>
        <pc:sldMkLst>
          <pc:docMk/>
          <pc:sldMk cId="2696776694" sldId="787"/>
        </pc:sldMkLst>
        <pc:spChg chg="add mod">
          <ac:chgData name="Mittermeier, Stefan" userId="94945143-6bbb-4fc1-b6eb-0ddcd12e4481" providerId="ADAL" clId="{13517B7C-9AFB-4918-ABE5-2ABAA5B6E0E3}" dt="2019-11-21T10:25:15.604" v="4340" actId="164"/>
          <ac:spMkLst>
            <pc:docMk/>
            <pc:sldMk cId="2696776694" sldId="787"/>
            <ac:spMk id="3" creationId="{A244A928-1545-4E01-B971-A932A7D95B68}"/>
          </ac:spMkLst>
        </pc:spChg>
        <pc:spChg chg="mod">
          <ac:chgData name="Mittermeier, Stefan" userId="94945143-6bbb-4fc1-b6eb-0ddcd12e4481" providerId="ADAL" clId="{13517B7C-9AFB-4918-ABE5-2ABAA5B6E0E3}" dt="2019-12-03T08:33:54.497" v="4893" actId="20577"/>
          <ac:spMkLst>
            <pc:docMk/>
            <pc:sldMk cId="2696776694" sldId="787"/>
            <ac:spMk id="19" creationId="{00000000-0000-0000-0000-000000000000}"/>
          </ac:spMkLst>
        </pc:spChg>
        <pc:spChg chg="del">
          <ac:chgData name="Mittermeier, Stefan" userId="94945143-6bbb-4fc1-b6eb-0ddcd12e4481" providerId="ADAL" clId="{13517B7C-9AFB-4918-ABE5-2ABAA5B6E0E3}" dt="2019-11-21T10:23:09.402" v="4297" actId="478"/>
          <ac:spMkLst>
            <pc:docMk/>
            <pc:sldMk cId="2696776694" sldId="787"/>
            <ac:spMk id="55" creationId="{1B27B289-7E6B-4A7F-BE46-EAD9149D9D36}"/>
          </ac:spMkLst>
        </pc:spChg>
        <pc:spChg chg="del">
          <ac:chgData name="Mittermeier, Stefan" userId="94945143-6bbb-4fc1-b6eb-0ddcd12e4481" providerId="ADAL" clId="{13517B7C-9AFB-4918-ABE5-2ABAA5B6E0E3}" dt="2019-11-21T10:23:09.402" v="4297" actId="478"/>
          <ac:spMkLst>
            <pc:docMk/>
            <pc:sldMk cId="2696776694" sldId="787"/>
            <ac:spMk id="60" creationId="{A5FAB270-7469-4C6E-90A5-45F89810F94C}"/>
          </ac:spMkLst>
        </pc:spChg>
        <pc:spChg chg="del">
          <ac:chgData name="Mittermeier, Stefan" userId="94945143-6bbb-4fc1-b6eb-0ddcd12e4481" providerId="ADAL" clId="{13517B7C-9AFB-4918-ABE5-2ABAA5B6E0E3}" dt="2019-11-21T10:23:09.402" v="4297" actId="478"/>
          <ac:spMkLst>
            <pc:docMk/>
            <pc:sldMk cId="2696776694" sldId="787"/>
            <ac:spMk id="61" creationId="{2530EF0B-A868-431C-80E6-4F8AEA924B57}"/>
          </ac:spMkLst>
        </pc:spChg>
        <pc:spChg chg="del">
          <ac:chgData name="Mittermeier, Stefan" userId="94945143-6bbb-4fc1-b6eb-0ddcd12e4481" providerId="ADAL" clId="{13517B7C-9AFB-4918-ABE5-2ABAA5B6E0E3}" dt="2019-11-21T10:23:09.402" v="4297" actId="478"/>
          <ac:spMkLst>
            <pc:docMk/>
            <pc:sldMk cId="2696776694" sldId="787"/>
            <ac:spMk id="62" creationId="{37FC8A18-4F98-4566-A7FA-F13AFFEA411A}"/>
          </ac:spMkLst>
        </pc:spChg>
        <pc:spChg chg="del">
          <ac:chgData name="Mittermeier, Stefan" userId="94945143-6bbb-4fc1-b6eb-0ddcd12e4481" providerId="ADAL" clId="{13517B7C-9AFB-4918-ABE5-2ABAA5B6E0E3}" dt="2019-11-21T10:23:09.402" v="4297" actId="478"/>
          <ac:spMkLst>
            <pc:docMk/>
            <pc:sldMk cId="2696776694" sldId="787"/>
            <ac:spMk id="63" creationId="{50BBF7AE-4DA9-4353-A2D4-98C1DC517B50}"/>
          </ac:spMkLst>
        </pc:spChg>
        <pc:spChg chg="add del mod">
          <ac:chgData name="Mittermeier, Stefan" userId="94945143-6bbb-4fc1-b6eb-0ddcd12e4481" providerId="ADAL" clId="{13517B7C-9AFB-4918-ABE5-2ABAA5B6E0E3}" dt="2019-11-21T10:25:02.042" v="4335" actId="478"/>
          <ac:spMkLst>
            <pc:docMk/>
            <pc:sldMk cId="2696776694" sldId="787"/>
            <ac:spMk id="68" creationId="{B959BCF3-CBCD-47DE-94FB-173742694A17}"/>
          </ac:spMkLst>
        </pc:spChg>
        <pc:spChg chg="add del mod">
          <ac:chgData name="Mittermeier, Stefan" userId="94945143-6bbb-4fc1-b6eb-0ddcd12e4481" providerId="ADAL" clId="{13517B7C-9AFB-4918-ABE5-2ABAA5B6E0E3}" dt="2019-11-21T10:25:02.042" v="4335" actId="478"/>
          <ac:spMkLst>
            <pc:docMk/>
            <pc:sldMk cId="2696776694" sldId="787"/>
            <ac:spMk id="70" creationId="{566838BE-1725-4F96-AB73-8C3B90E03A63}"/>
          </ac:spMkLst>
        </pc:spChg>
        <pc:spChg chg="mod">
          <ac:chgData name="Mittermeier, Stefan" userId="94945143-6bbb-4fc1-b6eb-0ddcd12e4481" providerId="ADAL" clId="{13517B7C-9AFB-4918-ABE5-2ABAA5B6E0E3}" dt="2019-11-21T10:25:52.459" v="4362" actId="20577"/>
          <ac:spMkLst>
            <pc:docMk/>
            <pc:sldMk cId="2696776694" sldId="787"/>
            <ac:spMk id="74" creationId="{B3E9EDDD-76AC-4243-B98A-6F0E4A202422}"/>
          </ac:spMkLst>
        </pc:spChg>
        <pc:spChg chg="mod">
          <ac:chgData name="Mittermeier, Stefan" userId="94945143-6bbb-4fc1-b6eb-0ddcd12e4481" providerId="ADAL" clId="{13517B7C-9AFB-4918-ABE5-2ABAA5B6E0E3}" dt="2019-11-21T10:26:00.231" v="4375" actId="20577"/>
          <ac:spMkLst>
            <pc:docMk/>
            <pc:sldMk cId="2696776694" sldId="787"/>
            <ac:spMk id="77" creationId="{552FAFEC-944B-4CCF-95BB-A8D7599645A7}"/>
          </ac:spMkLst>
        </pc:spChg>
        <pc:spChg chg="add mod">
          <ac:chgData name="Mittermeier, Stefan" userId="94945143-6bbb-4fc1-b6eb-0ddcd12e4481" providerId="ADAL" clId="{13517B7C-9AFB-4918-ABE5-2ABAA5B6E0E3}" dt="2019-11-21T10:26:53.401" v="4386" actId="14100"/>
          <ac:spMkLst>
            <pc:docMk/>
            <pc:sldMk cId="2696776694" sldId="787"/>
            <ac:spMk id="78" creationId="{CC69B66E-B0FC-4F46-9200-6064E13C8027}"/>
          </ac:spMkLst>
        </pc:spChg>
        <pc:spChg chg="add mod">
          <ac:chgData name="Mittermeier, Stefan" userId="94945143-6bbb-4fc1-b6eb-0ddcd12e4481" providerId="ADAL" clId="{13517B7C-9AFB-4918-ABE5-2ABAA5B6E0E3}" dt="2019-11-21T10:26:47.725" v="4384" actId="368"/>
          <ac:spMkLst>
            <pc:docMk/>
            <pc:sldMk cId="2696776694" sldId="787"/>
            <ac:spMk id="79" creationId="{847D97ED-0EF5-4560-B977-46FD2992EC90}"/>
          </ac:spMkLst>
        </pc:spChg>
        <pc:spChg chg="del">
          <ac:chgData name="Mittermeier, Stefan" userId="94945143-6bbb-4fc1-b6eb-0ddcd12e4481" providerId="ADAL" clId="{13517B7C-9AFB-4918-ABE5-2ABAA5B6E0E3}" dt="2019-11-21T10:23:09.402" v="4297" actId="478"/>
          <ac:spMkLst>
            <pc:docMk/>
            <pc:sldMk cId="2696776694" sldId="787"/>
            <ac:spMk id="144" creationId="{14CE986A-39C3-4AE5-9BFB-B7AA87A3CA22}"/>
          </ac:spMkLst>
        </pc:spChg>
        <pc:spChg chg="del">
          <ac:chgData name="Mittermeier, Stefan" userId="94945143-6bbb-4fc1-b6eb-0ddcd12e4481" providerId="ADAL" clId="{13517B7C-9AFB-4918-ABE5-2ABAA5B6E0E3}" dt="2019-11-21T10:23:09.402" v="4297" actId="478"/>
          <ac:spMkLst>
            <pc:docMk/>
            <pc:sldMk cId="2696776694" sldId="787"/>
            <ac:spMk id="167" creationId="{339E41C2-6719-4666-9D42-6CFA60F66369}"/>
          </ac:spMkLst>
        </pc:spChg>
        <pc:spChg chg="del">
          <ac:chgData name="Mittermeier, Stefan" userId="94945143-6bbb-4fc1-b6eb-0ddcd12e4481" providerId="ADAL" clId="{13517B7C-9AFB-4918-ABE5-2ABAA5B6E0E3}" dt="2019-11-21T10:23:09.402" v="4297" actId="478"/>
          <ac:spMkLst>
            <pc:docMk/>
            <pc:sldMk cId="2696776694" sldId="787"/>
            <ac:spMk id="168" creationId="{7BFF62D5-645D-45A2-B649-B72834D840CC}"/>
          </ac:spMkLst>
        </pc:spChg>
        <pc:spChg chg="del mod">
          <ac:chgData name="Mittermeier, Stefan" userId="94945143-6bbb-4fc1-b6eb-0ddcd12e4481" providerId="ADAL" clId="{13517B7C-9AFB-4918-ABE5-2ABAA5B6E0E3}" dt="2019-11-21T10:29:45.383" v="4428" actId="478"/>
          <ac:spMkLst>
            <pc:docMk/>
            <pc:sldMk cId="2696776694" sldId="787"/>
            <ac:spMk id="196" creationId="{5D2F274B-9DD0-44F1-A9AC-99BC159AE18D}"/>
          </ac:spMkLst>
        </pc:spChg>
        <pc:spChg chg="del mod">
          <ac:chgData name="Mittermeier, Stefan" userId="94945143-6bbb-4fc1-b6eb-0ddcd12e4481" providerId="ADAL" clId="{13517B7C-9AFB-4918-ABE5-2ABAA5B6E0E3}" dt="2019-11-21T10:29:45.383" v="4428" actId="478"/>
          <ac:spMkLst>
            <pc:docMk/>
            <pc:sldMk cId="2696776694" sldId="787"/>
            <ac:spMk id="197" creationId="{EB61AA5E-43F7-49EC-A2A3-6C91EEE5F19D}"/>
          </ac:spMkLst>
        </pc:spChg>
        <pc:spChg chg="mod">
          <ac:chgData name="Mittermeier, Stefan" userId="94945143-6bbb-4fc1-b6eb-0ddcd12e4481" providerId="ADAL" clId="{13517B7C-9AFB-4918-ABE5-2ABAA5B6E0E3}" dt="2019-11-21T10:27:03.386" v="4388" actId="164"/>
          <ac:spMkLst>
            <pc:docMk/>
            <pc:sldMk cId="2696776694" sldId="787"/>
            <ac:spMk id="198" creationId="{8A59AA09-EA59-4A84-AF43-19A308F642EE}"/>
          </ac:spMkLst>
        </pc:spChg>
        <pc:spChg chg="mod">
          <ac:chgData name="Mittermeier, Stefan" userId="94945143-6bbb-4fc1-b6eb-0ddcd12e4481" providerId="ADAL" clId="{13517B7C-9AFB-4918-ABE5-2ABAA5B6E0E3}" dt="2019-12-03T08:42:06.083" v="4894" actId="1076"/>
          <ac:spMkLst>
            <pc:docMk/>
            <pc:sldMk cId="2696776694" sldId="787"/>
            <ac:spMk id="199" creationId="{C74F52BB-BA57-4F1B-AAFB-FA49247A0E4E}"/>
          </ac:spMkLst>
        </pc:spChg>
        <pc:spChg chg="mod">
          <ac:chgData name="Mittermeier, Stefan" userId="94945143-6bbb-4fc1-b6eb-0ddcd12e4481" providerId="ADAL" clId="{13517B7C-9AFB-4918-ABE5-2ABAA5B6E0E3}" dt="2019-12-03T08:42:06.083" v="4894" actId="1076"/>
          <ac:spMkLst>
            <pc:docMk/>
            <pc:sldMk cId="2696776694" sldId="787"/>
            <ac:spMk id="200" creationId="{E0985334-97DB-4829-81BB-BB885B7FE5C0}"/>
          </ac:spMkLst>
        </pc:spChg>
        <pc:spChg chg="mod">
          <ac:chgData name="Mittermeier, Stefan" userId="94945143-6bbb-4fc1-b6eb-0ddcd12e4481" providerId="ADAL" clId="{13517B7C-9AFB-4918-ABE5-2ABAA5B6E0E3}" dt="2019-12-03T08:42:06.083" v="4894" actId="1076"/>
          <ac:spMkLst>
            <pc:docMk/>
            <pc:sldMk cId="2696776694" sldId="787"/>
            <ac:spMk id="202" creationId="{00908F2B-10D5-4992-8BF5-A7E2C3D2B9F0}"/>
          </ac:spMkLst>
        </pc:spChg>
        <pc:spChg chg="del mod">
          <ac:chgData name="Mittermeier, Stefan" userId="94945143-6bbb-4fc1-b6eb-0ddcd12e4481" providerId="ADAL" clId="{13517B7C-9AFB-4918-ABE5-2ABAA5B6E0E3}" dt="2019-12-03T08:27:55.810" v="4732" actId="478"/>
          <ac:spMkLst>
            <pc:docMk/>
            <pc:sldMk cId="2696776694" sldId="787"/>
            <ac:spMk id="209" creationId="{9C85A905-6F6B-47A7-947D-0E077248486C}"/>
          </ac:spMkLst>
        </pc:spChg>
        <pc:spChg chg="del mod">
          <ac:chgData name="Mittermeier, Stefan" userId="94945143-6bbb-4fc1-b6eb-0ddcd12e4481" providerId="ADAL" clId="{13517B7C-9AFB-4918-ABE5-2ABAA5B6E0E3}" dt="2019-11-21T10:29:45.383" v="4428" actId="478"/>
          <ac:spMkLst>
            <pc:docMk/>
            <pc:sldMk cId="2696776694" sldId="787"/>
            <ac:spMk id="210" creationId="{4FB3F771-81B7-45D6-899D-6CE837407EF6}"/>
          </ac:spMkLst>
        </pc:spChg>
        <pc:spChg chg="del mod">
          <ac:chgData name="Mittermeier, Stefan" userId="94945143-6bbb-4fc1-b6eb-0ddcd12e4481" providerId="ADAL" clId="{13517B7C-9AFB-4918-ABE5-2ABAA5B6E0E3}" dt="2019-12-03T08:27:53.923" v="4731" actId="478"/>
          <ac:spMkLst>
            <pc:docMk/>
            <pc:sldMk cId="2696776694" sldId="787"/>
            <ac:spMk id="211" creationId="{609ECA01-8494-4FED-A87D-6F4BA26C3F89}"/>
          </ac:spMkLst>
        </pc:spChg>
        <pc:spChg chg="del">
          <ac:chgData name="Mittermeier, Stefan" userId="94945143-6bbb-4fc1-b6eb-0ddcd12e4481" providerId="ADAL" clId="{13517B7C-9AFB-4918-ABE5-2ABAA5B6E0E3}" dt="2019-11-21T10:23:09.402" v="4297" actId="478"/>
          <ac:spMkLst>
            <pc:docMk/>
            <pc:sldMk cId="2696776694" sldId="787"/>
            <ac:spMk id="226" creationId="{55F7C5E1-8D05-47CF-A5C3-FFB6C2082E39}"/>
          </ac:spMkLst>
        </pc:spChg>
        <pc:spChg chg="del">
          <ac:chgData name="Mittermeier, Stefan" userId="94945143-6bbb-4fc1-b6eb-0ddcd12e4481" providerId="ADAL" clId="{13517B7C-9AFB-4918-ABE5-2ABAA5B6E0E3}" dt="2019-11-21T10:23:09.402" v="4297" actId="478"/>
          <ac:spMkLst>
            <pc:docMk/>
            <pc:sldMk cId="2696776694" sldId="787"/>
            <ac:spMk id="227" creationId="{25AF102A-1518-44AA-9721-99B49B409216}"/>
          </ac:spMkLst>
        </pc:spChg>
        <pc:spChg chg="del">
          <ac:chgData name="Mittermeier, Stefan" userId="94945143-6bbb-4fc1-b6eb-0ddcd12e4481" providerId="ADAL" clId="{13517B7C-9AFB-4918-ABE5-2ABAA5B6E0E3}" dt="2019-11-21T10:23:09.402" v="4297" actId="478"/>
          <ac:spMkLst>
            <pc:docMk/>
            <pc:sldMk cId="2696776694" sldId="787"/>
            <ac:spMk id="228" creationId="{4968F648-0831-4FDD-BB20-E0DFB2FD8614}"/>
          </ac:spMkLst>
        </pc:spChg>
        <pc:spChg chg="del mod">
          <ac:chgData name="Mittermeier, Stefan" userId="94945143-6bbb-4fc1-b6eb-0ddcd12e4481" providerId="ADAL" clId="{13517B7C-9AFB-4918-ABE5-2ABAA5B6E0E3}" dt="2019-11-21T10:29:45.383" v="4428" actId="478"/>
          <ac:spMkLst>
            <pc:docMk/>
            <pc:sldMk cId="2696776694" sldId="787"/>
            <ac:spMk id="252" creationId="{29A436D2-47E6-4596-9D76-01AA4F1A0AC9}"/>
          </ac:spMkLst>
        </pc:spChg>
        <pc:spChg chg="del mod">
          <ac:chgData name="Mittermeier, Stefan" userId="94945143-6bbb-4fc1-b6eb-0ddcd12e4481" providerId="ADAL" clId="{13517B7C-9AFB-4918-ABE5-2ABAA5B6E0E3}" dt="2019-11-21T10:29:45.383" v="4428" actId="478"/>
          <ac:spMkLst>
            <pc:docMk/>
            <pc:sldMk cId="2696776694" sldId="787"/>
            <ac:spMk id="253" creationId="{1A9D4B2B-8CC0-49D5-8BD0-54F58CA28EF8}"/>
          </ac:spMkLst>
        </pc:spChg>
        <pc:spChg chg="del mod">
          <ac:chgData name="Mittermeier, Stefan" userId="94945143-6bbb-4fc1-b6eb-0ddcd12e4481" providerId="ADAL" clId="{13517B7C-9AFB-4918-ABE5-2ABAA5B6E0E3}" dt="2019-11-21T10:29:45.383" v="4428" actId="478"/>
          <ac:spMkLst>
            <pc:docMk/>
            <pc:sldMk cId="2696776694" sldId="787"/>
            <ac:spMk id="254" creationId="{CAB5AEDE-8FAF-4B3B-B6C0-3EEC90045BFD}"/>
          </ac:spMkLst>
        </pc:spChg>
        <pc:spChg chg="del mod">
          <ac:chgData name="Mittermeier, Stefan" userId="94945143-6bbb-4fc1-b6eb-0ddcd12e4481" providerId="ADAL" clId="{13517B7C-9AFB-4918-ABE5-2ABAA5B6E0E3}" dt="2019-11-21T10:29:45.383" v="4428" actId="478"/>
          <ac:spMkLst>
            <pc:docMk/>
            <pc:sldMk cId="2696776694" sldId="787"/>
            <ac:spMk id="255" creationId="{6EA87FB0-59E6-4247-9153-E75CB544CA77}"/>
          </ac:spMkLst>
        </pc:spChg>
        <pc:spChg chg="del mod">
          <ac:chgData name="Mittermeier, Stefan" userId="94945143-6bbb-4fc1-b6eb-0ddcd12e4481" providerId="ADAL" clId="{13517B7C-9AFB-4918-ABE5-2ABAA5B6E0E3}" dt="2019-11-21T10:29:45.383" v="4428" actId="478"/>
          <ac:spMkLst>
            <pc:docMk/>
            <pc:sldMk cId="2696776694" sldId="787"/>
            <ac:spMk id="261" creationId="{41E4E228-9A2C-4A99-94BA-8ED6F7B2CB30}"/>
          </ac:spMkLst>
        </pc:spChg>
        <pc:spChg chg="del mod">
          <ac:chgData name="Mittermeier, Stefan" userId="94945143-6bbb-4fc1-b6eb-0ddcd12e4481" providerId="ADAL" clId="{13517B7C-9AFB-4918-ABE5-2ABAA5B6E0E3}" dt="2019-11-21T10:29:45.383" v="4428" actId="478"/>
          <ac:spMkLst>
            <pc:docMk/>
            <pc:sldMk cId="2696776694" sldId="787"/>
            <ac:spMk id="262" creationId="{49AC3A97-3AD3-4DCB-AA6D-BA603774AEEF}"/>
          </ac:spMkLst>
        </pc:spChg>
        <pc:spChg chg="del mod">
          <ac:chgData name="Mittermeier, Stefan" userId="94945143-6bbb-4fc1-b6eb-0ddcd12e4481" providerId="ADAL" clId="{13517B7C-9AFB-4918-ABE5-2ABAA5B6E0E3}" dt="2019-11-21T10:29:45.383" v="4428" actId="478"/>
          <ac:spMkLst>
            <pc:docMk/>
            <pc:sldMk cId="2696776694" sldId="787"/>
            <ac:spMk id="263" creationId="{9D3EF422-26B4-4DF3-99B5-0F550CEF46D5}"/>
          </ac:spMkLst>
        </pc:spChg>
        <pc:spChg chg="del mod">
          <ac:chgData name="Mittermeier, Stefan" userId="94945143-6bbb-4fc1-b6eb-0ddcd12e4481" providerId="ADAL" clId="{13517B7C-9AFB-4918-ABE5-2ABAA5B6E0E3}" dt="2019-11-21T10:28:24.756" v="4420" actId="478"/>
          <ac:spMkLst>
            <pc:docMk/>
            <pc:sldMk cId="2696776694" sldId="787"/>
            <ac:spMk id="264" creationId="{28C7F468-3184-4B14-A246-8AD10C33C20C}"/>
          </ac:spMkLst>
        </pc:spChg>
        <pc:spChg chg="del">
          <ac:chgData name="Mittermeier, Stefan" userId="94945143-6bbb-4fc1-b6eb-0ddcd12e4481" providerId="ADAL" clId="{13517B7C-9AFB-4918-ABE5-2ABAA5B6E0E3}" dt="2019-11-21T10:23:09.402" v="4297" actId="478"/>
          <ac:spMkLst>
            <pc:docMk/>
            <pc:sldMk cId="2696776694" sldId="787"/>
            <ac:spMk id="24598" creationId="{637D0B69-1C9C-4D3D-8266-8664BFCCCD1D}"/>
          </ac:spMkLst>
        </pc:spChg>
        <pc:grpChg chg="add mod">
          <ac:chgData name="Mittermeier, Stefan" userId="94945143-6bbb-4fc1-b6eb-0ddcd12e4481" providerId="ADAL" clId="{13517B7C-9AFB-4918-ABE5-2ABAA5B6E0E3}" dt="2019-12-03T08:31:57.439" v="4817" actId="1036"/>
          <ac:grpSpMkLst>
            <pc:docMk/>
            <pc:sldMk cId="2696776694" sldId="787"/>
            <ac:grpSpMk id="4" creationId="{3D39BA62-CB6D-4D87-997C-6E1960DD010E}"/>
          </ac:grpSpMkLst>
        </pc:grpChg>
        <pc:grpChg chg="del">
          <ac:chgData name="Mittermeier, Stefan" userId="94945143-6bbb-4fc1-b6eb-0ddcd12e4481" providerId="ADAL" clId="{13517B7C-9AFB-4918-ABE5-2ABAA5B6E0E3}" dt="2019-11-21T10:30:28.930" v="4440" actId="478"/>
          <ac:grpSpMkLst>
            <pc:docMk/>
            <pc:sldMk cId="2696776694" sldId="787"/>
            <ac:grpSpMk id="6" creationId="{1B6C7223-4859-49D4-B3EF-7E6D1042252B}"/>
          </ac:grpSpMkLst>
        </pc:grpChg>
        <pc:grpChg chg="del">
          <ac:chgData name="Mittermeier, Stefan" userId="94945143-6bbb-4fc1-b6eb-0ddcd12e4481" providerId="ADAL" clId="{13517B7C-9AFB-4918-ABE5-2ABAA5B6E0E3}" dt="2019-11-21T10:30:28.930" v="4440" actId="478"/>
          <ac:grpSpMkLst>
            <pc:docMk/>
            <pc:sldMk cId="2696776694" sldId="787"/>
            <ac:grpSpMk id="8" creationId="{8F8636D2-6B7F-48E9-8A1C-38FAD9E7997C}"/>
          </ac:grpSpMkLst>
        </pc:grpChg>
        <pc:grpChg chg="add mod ord">
          <ac:chgData name="Mittermeier, Stefan" userId="94945143-6bbb-4fc1-b6eb-0ddcd12e4481" providerId="ADAL" clId="{13517B7C-9AFB-4918-ABE5-2ABAA5B6E0E3}" dt="2019-11-21T10:27:03.386" v="4388" actId="164"/>
          <ac:grpSpMkLst>
            <pc:docMk/>
            <pc:sldMk cId="2696776694" sldId="787"/>
            <ac:grpSpMk id="9" creationId="{3FD34F55-ABB6-4629-AE64-897D33706B45}"/>
          </ac:grpSpMkLst>
        </pc:grpChg>
        <pc:grpChg chg="add mod">
          <ac:chgData name="Mittermeier, Stefan" userId="94945143-6bbb-4fc1-b6eb-0ddcd12e4481" providerId="ADAL" clId="{13517B7C-9AFB-4918-ABE5-2ABAA5B6E0E3}" dt="2019-12-03T08:31:57.439" v="4817" actId="1036"/>
          <ac:grpSpMkLst>
            <pc:docMk/>
            <pc:sldMk cId="2696776694" sldId="787"/>
            <ac:grpSpMk id="10" creationId="{6CC68E8A-E60D-4571-B13F-DC047C7BB89F}"/>
          </ac:grpSpMkLst>
        </pc:grpChg>
        <pc:grpChg chg="del">
          <ac:chgData name="Mittermeier, Stefan" userId="94945143-6bbb-4fc1-b6eb-0ddcd12e4481" providerId="ADAL" clId="{13517B7C-9AFB-4918-ABE5-2ABAA5B6E0E3}" dt="2019-11-21T10:30:28.930" v="4440" actId="478"/>
          <ac:grpSpMkLst>
            <pc:docMk/>
            <pc:sldMk cId="2696776694" sldId="787"/>
            <ac:grpSpMk id="35" creationId="{DCD93C25-9407-408F-AC8A-4FD46ABEF4A6}"/>
          </ac:grpSpMkLst>
        </pc:grpChg>
        <pc:grpChg chg="del">
          <ac:chgData name="Mittermeier, Stefan" userId="94945143-6bbb-4fc1-b6eb-0ddcd12e4481" providerId="ADAL" clId="{13517B7C-9AFB-4918-ABE5-2ABAA5B6E0E3}" dt="2019-11-21T10:30:28.930" v="4440" actId="478"/>
          <ac:grpSpMkLst>
            <pc:docMk/>
            <pc:sldMk cId="2696776694" sldId="787"/>
            <ac:grpSpMk id="38" creationId="{474F225C-5CEC-44D9-AF59-48D71D52AE27}"/>
          </ac:grpSpMkLst>
        </pc:grpChg>
        <pc:grpChg chg="del">
          <ac:chgData name="Mittermeier, Stefan" userId="94945143-6bbb-4fc1-b6eb-0ddcd12e4481" providerId="ADAL" clId="{13517B7C-9AFB-4918-ABE5-2ABAA5B6E0E3}" dt="2019-11-21T10:30:28.930" v="4440" actId="478"/>
          <ac:grpSpMkLst>
            <pc:docMk/>
            <pc:sldMk cId="2696776694" sldId="787"/>
            <ac:grpSpMk id="41" creationId="{500D3E19-8337-4118-AD1D-1DA3A57EF9A7}"/>
          </ac:grpSpMkLst>
        </pc:grpChg>
        <pc:grpChg chg="add mod">
          <ac:chgData name="Mittermeier, Stefan" userId="94945143-6bbb-4fc1-b6eb-0ddcd12e4481" providerId="ADAL" clId="{13517B7C-9AFB-4918-ABE5-2ABAA5B6E0E3}" dt="2019-12-03T08:31:57.439" v="4817" actId="1036"/>
          <ac:grpSpMkLst>
            <pc:docMk/>
            <pc:sldMk cId="2696776694" sldId="787"/>
            <ac:grpSpMk id="72" creationId="{D05FE86E-FBD4-462D-B78D-939F726A5D02}"/>
          </ac:grpSpMkLst>
        </pc:grpChg>
        <pc:grpChg chg="add mod">
          <ac:chgData name="Mittermeier, Stefan" userId="94945143-6bbb-4fc1-b6eb-0ddcd12e4481" providerId="ADAL" clId="{13517B7C-9AFB-4918-ABE5-2ABAA5B6E0E3}" dt="2019-12-03T08:31:57.439" v="4817" actId="1036"/>
          <ac:grpSpMkLst>
            <pc:docMk/>
            <pc:sldMk cId="2696776694" sldId="787"/>
            <ac:grpSpMk id="75" creationId="{796E349E-99AD-4BE2-8F15-9BFC0C04AFA3}"/>
          </ac:grpSpMkLst>
        </pc:grpChg>
        <pc:grpChg chg="add mod">
          <ac:chgData name="Mittermeier, Stefan" userId="94945143-6bbb-4fc1-b6eb-0ddcd12e4481" providerId="ADAL" clId="{13517B7C-9AFB-4918-ABE5-2ABAA5B6E0E3}" dt="2019-12-03T08:31:57.439" v="4817" actId="1036"/>
          <ac:grpSpMkLst>
            <pc:docMk/>
            <pc:sldMk cId="2696776694" sldId="787"/>
            <ac:grpSpMk id="82" creationId="{C9E0EC7F-2E95-42F5-86CD-1626D46C66E8}"/>
          </ac:grpSpMkLst>
        </pc:grpChg>
        <pc:grpChg chg="mod">
          <ac:chgData name="Mittermeier, Stefan" userId="94945143-6bbb-4fc1-b6eb-0ddcd12e4481" providerId="ADAL" clId="{13517B7C-9AFB-4918-ABE5-2ABAA5B6E0E3}" dt="2019-11-21T10:27:34.202" v="4398" actId="408"/>
          <ac:grpSpMkLst>
            <pc:docMk/>
            <pc:sldMk cId="2696776694" sldId="787"/>
            <ac:grpSpMk id="83" creationId="{98045F7F-B048-4E07-AA47-1CC858905AF4}"/>
          </ac:grpSpMkLst>
        </pc:grpChg>
        <pc:grpChg chg="add mod">
          <ac:chgData name="Mittermeier, Stefan" userId="94945143-6bbb-4fc1-b6eb-0ddcd12e4481" providerId="ADAL" clId="{13517B7C-9AFB-4918-ABE5-2ABAA5B6E0E3}" dt="2019-12-03T08:31:57.439" v="4817" actId="1036"/>
          <ac:grpSpMkLst>
            <pc:docMk/>
            <pc:sldMk cId="2696776694" sldId="787"/>
            <ac:grpSpMk id="87" creationId="{3048D281-003A-4F73-89FE-7EBF46411FC1}"/>
          </ac:grpSpMkLst>
        </pc:grpChg>
        <pc:grpChg chg="mod">
          <ac:chgData name="Mittermeier, Stefan" userId="94945143-6bbb-4fc1-b6eb-0ddcd12e4481" providerId="ADAL" clId="{13517B7C-9AFB-4918-ABE5-2ABAA5B6E0E3}" dt="2019-11-21T10:27:31.394" v="4397" actId="554"/>
          <ac:grpSpMkLst>
            <pc:docMk/>
            <pc:sldMk cId="2696776694" sldId="787"/>
            <ac:grpSpMk id="89" creationId="{E5E5E2AF-7B6C-4DDD-8E36-8790F056E46F}"/>
          </ac:grpSpMkLst>
        </pc:grpChg>
        <pc:grpChg chg="add">
          <ac:chgData name="Mittermeier, Stefan" userId="94945143-6bbb-4fc1-b6eb-0ddcd12e4481" providerId="ADAL" clId="{13517B7C-9AFB-4918-ABE5-2ABAA5B6E0E3}" dt="2019-11-21T10:30:29.131" v="4441"/>
          <ac:grpSpMkLst>
            <pc:docMk/>
            <pc:sldMk cId="2696776694" sldId="787"/>
            <ac:grpSpMk id="96" creationId="{832E0229-AA5B-4E73-84D3-FF1A464AE829}"/>
          </ac:grpSpMkLst>
        </pc:grpChg>
        <pc:grpChg chg="add">
          <ac:chgData name="Mittermeier, Stefan" userId="94945143-6bbb-4fc1-b6eb-0ddcd12e4481" providerId="ADAL" clId="{13517B7C-9AFB-4918-ABE5-2ABAA5B6E0E3}" dt="2019-11-21T10:30:29.131" v="4441"/>
          <ac:grpSpMkLst>
            <pc:docMk/>
            <pc:sldMk cId="2696776694" sldId="787"/>
            <ac:grpSpMk id="99" creationId="{99EE496C-AD74-461E-BD17-53EA87A115F1}"/>
          </ac:grpSpMkLst>
        </pc:grpChg>
        <pc:grpChg chg="add">
          <ac:chgData name="Mittermeier, Stefan" userId="94945143-6bbb-4fc1-b6eb-0ddcd12e4481" providerId="ADAL" clId="{13517B7C-9AFB-4918-ABE5-2ABAA5B6E0E3}" dt="2019-11-21T10:30:29.131" v="4441"/>
          <ac:grpSpMkLst>
            <pc:docMk/>
            <pc:sldMk cId="2696776694" sldId="787"/>
            <ac:grpSpMk id="102" creationId="{67EED68E-6612-49B2-A56A-ACD4B1A6EB47}"/>
          </ac:grpSpMkLst>
        </pc:grpChg>
        <pc:grpChg chg="add">
          <ac:chgData name="Mittermeier, Stefan" userId="94945143-6bbb-4fc1-b6eb-0ddcd12e4481" providerId="ADAL" clId="{13517B7C-9AFB-4918-ABE5-2ABAA5B6E0E3}" dt="2019-11-21T10:30:29.131" v="4441"/>
          <ac:grpSpMkLst>
            <pc:docMk/>
            <pc:sldMk cId="2696776694" sldId="787"/>
            <ac:grpSpMk id="105" creationId="{FED0074B-EACB-4C1E-ADCF-5CBEFD187BC7}"/>
          </ac:grpSpMkLst>
        </pc:grpChg>
        <pc:grpChg chg="add">
          <ac:chgData name="Mittermeier, Stefan" userId="94945143-6bbb-4fc1-b6eb-0ddcd12e4481" providerId="ADAL" clId="{13517B7C-9AFB-4918-ABE5-2ABAA5B6E0E3}" dt="2019-11-21T10:30:29.131" v="4441"/>
          <ac:grpSpMkLst>
            <pc:docMk/>
            <pc:sldMk cId="2696776694" sldId="787"/>
            <ac:grpSpMk id="108" creationId="{A3285CAE-1104-471E-8084-74EF91131CBE}"/>
          </ac:grpSpMkLst>
        </pc:grpChg>
        <pc:grpChg chg="del">
          <ac:chgData name="Mittermeier, Stefan" userId="94945143-6bbb-4fc1-b6eb-0ddcd12e4481" providerId="ADAL" clId="{13517B7C-9AFB-4918-ABE5-2ABAA5B6E0E3}" dt="2019-11-21T10:23:09.402" v="4297" actId="478"/>
          <ac:grpSpMkLst>
            <pc:docMk/>
            <pc:sldMk cId="2696776694" sldId="787"/>
            <ac:grpSpMk id="24584" creationId="{C169E089-436C-4A29-8F8F-4B8D798E92D0}"/>
          </ac:grpSpMkLst>
        </pc:grpChg>
        <pc:grpChg chg="del">
          <ac:chgData name="Mittermeier, Stefan" userId="94945143-6bbb-4fc1-b6eb-0ddcd12e4481" providerId="ADAL" clId="{13517B7C-9AFB-4918-ABE5-2ABAA5B6E0E3}" dt="2019-11-21T10:23:15.441" v="4299" actId="478"/>
          <ac:grpSpMkLst>
            <pc:docMk/>
            <pc:sldMk cId="2696776694" sldId="787"/>
            <ac:grpSpMk id="24585" creationId="{EA8E3C85-FB5E-41F7-B528-EA39BA3A3F74}"/>
          </ac:grpSpMkLst>
        </pc:grpChg>
        <pc:picChg chg="add del">
          <ac:chgData name="Mittermeier, Stefan" userId="94945143-6bbb-4fc1-b6eb-0ddcd12e4481" providerId="ADAL" clId="{13517B7C-9AFB-4918-ABE5-2ABAA5B6E0E3}" dt="2019-12-03T08:27:08.182" v="4722" actId="478"/>
          <ac:picMkLst>
            <pc:docMk/>
            <pc:sldMk cId="2696776694" sldId="787"/>
            <ac:picMk id="2" creationId="{CB454AF3-9AA7-4C1C-B115-98CE157F41B3}"/>
          </ac:picMkLst>
        </pc:picChg>
        <pc:picChg chg="add del mod">
          <ac:chgData name="Mittermeier, Stefan" userId="94945143-6bbb-4fc1-b6eb-0ddcd12e4481" providerId="ADAL" clId="{13517B7C-9AFB-4918-ABE5-2ABAA5B6E0E3}" dt="2019-11-21T10:25:02.042" v="4335" actId="478"/>
          <ac:picMkLst>
            <pc:docMk/>
            <pc:sldMk cId="2696776694" sldId="787"/>
            <ac:picMk id="67" creationId="{F8106C0C-B927-4847-93DF-6363A582DB4D}"/>
          </ac:picMkLst>
        </pc:picChg>
        <pc:picChg chg="add del mod">
          <ac:chgData name="Mittermeier, Stefan" userId="94945143-6bbb-4fc1-b6eb-0ddcd12e4481" providerId="ADAL" clId="{13517B7C-9AFB-4918-ABE5-2ABAA5B6E0E3}" dt="2019-11-21T10:25:02.042" v="4335" actId="478"/>
          <ac:picMkLst>
            <pc:docMk/>
            <pc:sldMk cId="2696776694" sldId="787"/>
            <ac:picMk id="69" creationId="{8781BADE-1F9A-46E7-B057-83FFD5548D15}"/>
          </ac:picMkLst>
        </pc:picChg>
        <pc:picChg chg="add mod">
          <ac:chgData name="Mittermeier, Stefan" userId="94945143-6bbb-4fc1-b6eb-0ddcd12e4481" providerId="ADAL" clId="{13517B7C-9AFB-4918-ABE5-2ABAA5B6E0E3}" dt="2019-11-21T10:25:15.604" v="4340" actId="164"/>
          <ac:picMkLst>
            <pc:docMk/>
            <pc:sldMk cId="2696776694" sldId="787"/>
            <ac:picMk id="24578" creationId="{2DB92BA2-B8D3-4648-9618-A44D0115C869}"/>
          </ac:picMkLst>
        </pc:picChg>
        <pc:picChg chg="add del mod ord">
          <ac:chgData name="Mittermeier, Stefan" userId="94945143-6bbb-4fc1-b6eb-0ddcd12e4481" providerId="ADAL" clId="{13517B7C-9AFB-4918-ABE5-2ABAA5B6E0E3}" dt="2019-12-03T08:27:43.990" v="4729" actId="478"/>
          <ac:picMkLst>
            <pc:docMk/>
            <pc:sldMk cId="2696776694" sldId="787"/>
            <ac:picMk id="24580" creationId="{36E534C7-01A8-4024-8AC8-7DEAB46FA7DC}"/>
          </ac:picMkLst>
        </pc:picChg>
        <pc:picChg chg="add del mod ord">
          <ac:chgData name="Mittermeier, Stefan" userId="94945143-6bbb-4fc1-b6eb-0ddcd12e4481" providerId="ADAL" clId="{13517B7C-9AFB-4918-ABE5-2ABAA5B6E0E3}" dt="2019-12-03T08:30:26.110" v="4747" actId="478"/>
          <ac:picMkLst>
            <pc:docMk/>
            <pc:sldMk cId="2696776694" sldId="787"/>
            <ac:picMk id="24582" creationId="{531E76F2-DD89-40FC-8112-450202EC6424}"/>
          </ac:picMkLst>
        </pc:picChg>
        <pc:picChg chg="add del">
          <ac:chgData name="Mittermeier, Stefan" userId="94945143-6bbb-4fc1-b6eb-0ddcd12e4481" providerId="ADAL" clId="{13517B7C-9AFB-4918-ABE5-2ABAA5B6E0E3}" dt="2019-12-03T08:29:32.373" v="4742" actId="478"/>
          <ac:picMkLst>
            <pc:docMk/>
            <pc:sldMk cId="2696776694" sldId="787"/>
            <ac:picMk id="24584" creationId="{6263C7EB-44D7-4309-B3F0-6DBD0CF26B27}"/>
          </ac:picMkLst>
        </pc:picChg>
        <pc:picChg chg="add mod">
          <ac:chgData name="Mittermeier, Stefan" userId="94945143-6bbb-4fc1-b6eb-0ddcd12e4481" providerId="ADAL" clId="{13517B7C-9AFB-4918-ABE5-2ABAA5B6E0E3}" dt="2019-12-03T08:42:06.083" v="4894" actId="1076"/>
          <ac:picMkLst>
            <pc:docMk/>
            <pc:sldMk cId="2696776694" sldId="787"/>
            <ac:picMk id="24586" creationId="{2C9AB985-9C8F-4AB9-8E46-0CA107FA6546}"/>
          </ac:picMkLst>
        </pc:picChg>
        <pc:cxnChg chg="del">
          <ac:chgData name="Mittermeier, Stefan" userId="94945143-6bbb-4fc1-b6eb-0ddcd12e4481" providerId="ADAL" clId="{13517B7C-9AFB-4918-ABE5-2ABAA5B6E0E3}" dt="2019-11-21T10:23:11.537" v="4298" actId="478"/>
          <ac:cxnSpMkLst>
            <pc:docMk/>
            <pc:sldMk cId="2696776694" sldId="787"/>
            <ac:cxnSpMk id="88" creationId="{2476373E-D8CA-404E-BEA2-23B4F48EC7E6}"/>
          </ac:cxnSpMkLst>
        </pc:cxnChg>
        <pc:cxnChg chg="add del mod">
          <ac:chgData name="Mittermeier, Stefan" userId="94945143-6bbb-4fc1-b6eb-0ddcd12e4481" providerId="ADAL" clId="{13517B7C-9AFB-4918-ABE5-2ABAA5B6E0E3}" dt="2019-11-21T10:32:00.453" v="4448" actId="478"/>
          <ac:cxnSpMkLst>
            <pc:docMk/>
            <pc:sldMk cId="2696776694" sldId="787"/>
            <ac:cxnSpMk id="111" creationId="{529B7A6A-F8A2-47FD-A14A-41AD558BFBC2}"/>
          </ac:cxnSpMkLst>
        </pc:cxnChg>
        <pc:cxnChg chg="add del mod">
          <ac:chgData name="Mittermeier, Stefan" userId="94945143-6bbb-4fc1-b6eb-0ddcd12e4481" providerId="ADAL" clId="{13517B7C-9AFB-4918-ABE5-2ABAA5B6E0E3}" dt="2019-11-21T10:31:58.317" v="4447" actId="478"/>
          <ac:cxnSpMkLst>
            <pc:docMk/>
            <pc:sldMk cId="2696776694" sldId="787"/>
            <ac:cxnSpMk id="113" creationId="{A281A6C0-4A22-446E-9B87-4DF92B67DEB5}"/>
          </ac:cxnSpMkLst>
        </pc:cxnChg>
        <pc:cxnChg chg="del">
          <ac:chgData name="Mittermeier, Stefan" userId="94945143-6bbb-4fc1-b6eb-0ddcd12e4481" providerId="ADAL" clId="{13517B7C-9AFB-4918-ABE5-2ABAA5B6E0E3}" dt="2019-11-21T10:23:09.402" v="4297" actId="478"/>
          <ac:cxnSpMkLst>
            <pc:docMk/>
            <pc:sldMk cId="2696776694" sldId="787"/>
            <ac:cxnSpMk id="145" creationId="{46B8F5E5-1C18-42A3-908B-40F5C54B5ECB}"/>
          </ac:cxnSpMkLst>
        </pc:cxnChg>
        <pc:cxnChg chg="del">
          <ac:chgData name="Mittermeier, Stefan" userId="94945143-6bbb-4fc1-b6eb-0ddcd12e4481" providerId="ADAL" clId="{13517B7C-9AFB-4918-ABE5-2ABAA5B6E0E3}" dt="2019-11-21T10:23:09.402" v="4297" actId="478"/>
          <ac:cxnSpMkLst>
            <pc:docMk/>
            <pc:sldMk cId="2696776694" sldId="787"/>
            <ac:cxnSpMk id="152" creationId="{EF921E87-581A-42C7-9A68-B44475435308}"/>
          </ac:cxnSpMkLst>
        </pc:cxnChg>
        <pc:cxnChg chg="del">
          <ac:chgData name="Mittermeier, Stefan" userId="94945143-6bbb-4fc1-b6eb-0ddcd12e4481" providerId="ADAL" clId="{13517B7C-9AFB-4918-ABE5-2ABAA5B6E0E3}" dt="2019-11-21T10:23:09.402" v="4297" actId="478"/>
          <ac:cxnSpMkLst>
            <pc:docMk/>
            <pc:sldMk cId="2696776694" sldId="787"/>
            <ac:cxnSpMk id="218" creationId="{873AE620-B970-44E0-B398-91C8D2A36D27}"/>
          </ac:cxnSpMkLst>
        </pc:cxnChg>
        <pc:cxnChg chg="del">
          <ac:chgData name="Mittermeier, Stefan" userId="94945143-6bbb-4fc1-b6eb-0ddcd12e4481" providerId="ADAL" clId="{13517B7C-9AFB-4918-ABE5-2ABAA5B6E0E3}" dt="2019-11-21T10:23:09.402" v="4297" actId="478"/>
          <ac:cxnSpMkLst>
            <pc:docMk/>
            <pc:sldMk cId="2696776694" sldId="787"/>
            <ac:cxnSpMk id="224" creationId="{E47BCC07-E716-4330-9876-75AF5F6749E1}"/>
          </ac:cxnSpMkLst>
        </pc:cxnChg>
        <pc:cxnChg chg="del mod">
          <ac:chgData name="Mittermeier, Stefan" userId="94945143-6bbb-4fc1-b6eb-0ddcd12e4481" providerId="ADAL" clId="{13517B7C-9AFB-4918-ABE5-2ABAA5B6E0E3}" dt="2019-11-21T10:30:14.890" v="4429" actId="478"/>
          <ac:cxnSpMkLst>
            <pc:docMk/>
            <pc:sldMk cId="2696776694" sldId="787"/>
            <ac:cxnSpMk id="256" creationId="{56832187-6B4F-436D-A8B1-A87C87847632}"/>
          </ac:cxnSpMkLst>
        </pc:cxnChg>
        <pc:cxnChg chg="del mod">
          <ac:chgData name="Mittermeier, Stefan" userId="94945143-6bbb-4fc1-b6eb-0ddcd12e4481" providerId="ADAL" clId="{13517B7C-9AFB-4918-ABE5-2ABAA5B6E0E3}" dt="2019-11-21T10:29:45.383" v="4428" actId="478"/>
          <ac:cxnSpMkLst>
            <pc:docMk/>
            <pc:sldMk cId="2696776694" sldId="787"/>
            <ac:cxnSpMk id="257" creationId="{A39CF1A2-5DDC-4139-9B28-B193A29FBADA}"/>
          </ac:cxnSpMkLst>
        </pc:cxnChg>
        <pc:cxnChg chg="del mod">
          <ac:chgData name="Mittermeier, Stefan" userId="94945143-6bbb-4fc1-b6eb-0ddcd12e4481" providerId="ADAL" clId="{13517B7C-9AFB-4918-ABE5-2ABAA5B6E0E3}" dt="2019-11-21T10:29:45.383" v="4428" actId="478"/>
          <ac:cxnSpMkLst>
            <pc:docMk/>
            <pc:sldMk cId="2696776694" sldId="787"/>
            <ac:cxnSpMk id="258" creationId="{6EF81D09-7CFE-4D11-B5D2-905BA9ACDCC1}"/>
          </ac:cxnSpMkLst>
        </pc:cxnChg>
        <pc:cxnChg chg="del mod">
          <ac:chgData name="Mittermeier, Stefan" userId="94945143-6bbb-4fc1-b6eb-0ddcd12e4481" providerId="ADAL" clId="{13517B7C-9AFB-4918-ABE5-2ABAA5B6E0E3}" dt="2019-11-21T10:29:45.383" v="4428" actId="478"/>
          <ac:cxnSpMkLst>
            <pc:docMk/>
            <pc:sldMk cId="2696776694" sldId="787"/>
            <ac:cxnSpMk id="260" creationId="{301C2CEF-7D76-434D-9DFD-3DB1741041F6}"/>
          </ac:cxnSpMkLst>
        </pc:cxnChg>
      </pc:sldChg>
      <pc:sldChg chg="addSp modSp add ord">
        <pc:chgData name="Mittermeier, Stefan" userId="94945143-6bbb-4fc1-b6eb-0ddcd12e4481" providerId="ADAL" clId="{13517B7C-9AFB-4918-ABE5-2ABAA5B6E0E3}" dt="2019-12-03T08:43:16.513" v="4895"/>
        <pc:sldMkLst>
          <pc:docMk/>
          <pc:sldMk cId="2235249436" sldId="788"/>
        </pc:sldMkLst>
        <pc:spChg chg="mod">
          <ac:chgData name="Mittermeier, Stefan" userId="94945143-6bbb-4fc1-b6eb-0ddcd12e4481" providerId="ADAL" clId="{13517B7C-9AFB-4918-ABE5-2ABAA5B6E0E3}" dt="2019-12-03T08:33:46.359" v="4889" actId="20577"/>
          <ac:spMkLst>
            <pc:docMk/>
            <pc:sldMk cId="2235249436" sldId="788"/>
            <ac:spMk id="19" creationId="{00000000-0000-0000-0000-000000000000}"/>
          </ac:spMkLst>
        </pc:spChg>
        <pc:spChg chg="add mod">
          <ac:chgData name="Mittermeier, Stefan" userId="94945143-6bbb-4fc1-b6eb-0ddcd12e4481" providerId="ADAL" clId="{13517B7C-9AFB-4918-ABE5-2ABAA5B6E0E3}" dt="2019-11-21T10:33:11.689" v="4479" actId="1076"/>
          <ac:spMkLst>
            <pc:docMk/>
            <pc:sldMk cId="2235249436" sldId="788"/>
            <ac:spMk id="50" creationId="{CBAAA12E-265C-4058-81F4-8B8DCD2BF547}"/>
          </ac:spMkLst>
        </pc:spChg>
        <pc:spChg chg="add mod">
          <ac:chgData name="Mittermeier, Stefan" userId="94945143-6bbb-4fc1-b6eb-0ddcd12e4481" providerId="ADAL" clId="{13517B7C-9AFB-4918-ABE5-2ABAA5B6E0E3}" dt="2019-11-21T10:33:11.689" v="4479" actId="1076"/>
          <ac:spMkLst>
            <pc:docMk/>
            <pc:sldMk cId="2235249436" sldId="788"/>
            <ac:spMk id="51" creationId="{9C0A8360-FC73-4AFA-99AC-CFF2A82058CC}"/>
          </ac:spMkLst>
        </pc:spChg>
        <pc:spChg chg="add mod">
          <ac:chgData name="Mittermeier, Stefan" userId="94945143-6bbb-4fc1-b6eb-0ddcd12e4481" providerId="ADAL" clId="{13517B7C-9AFB-4918-ABE5-2ABAA5B6E0E3}" dt="2019-11-21T10:33:11.689" v="4479" actId="1076"/>
          <ac:spMkLst>
            <pc:docMk/>
            <pc:sldMk cId="2235249436" sldId="788"/>
            <ac:spMk id="52" creationId="{7F1676F6-C596-4165-A939-757690EDF060}"/>
          </ac:spMkLst>
        </pc:spChg>
        <pc:spChg chg="add mod">
          <ac:chgData name="Mittermeier, Stefan" userId="94945143-6bbb-4fc1-b6eb-0ddcd12e4481" providerId="ADAL" clId="{13517B7C-9AFB-4918-ABE5-2ABAA5B6E0E3}" dt="2019-11-21T10:33:11.689" v="4479" actId="1076"/>
          <ac:spMkLst>
            <pc:docMk/>
            <pc:sldMk cId="2235249436" sldId="788"/>
            <ac:spMk id="53" creationId="{4C0EDCB1-6D57-4D6D-8FFC-83EFFA4331E0}"/>
          </ac:spMkLst>
        </pc:spChg>
        <pc:spChg chg="add mod">
          <ac:chgData name="Mittermeier, Stefan" userId="94945143-6bbb-4fc1-b6eb-0ddcd12e4481" providerId="ADAL" clId="{13517B7C-9AFB-4918-ABE5-2ABAA5B6E0E3}" dt="2019-11-21T10:33:11.689" v="4479" actId="1076"/>
          <ac:spMkLst>
            <pc:docMk/>
            <pc:sldMk cId="2235249436" sldId="788"/>
            <ac:spMk id="54" creationId="{CE3D856A-A601-4A1F-8A37-5F188DDCB917}"/>
          </ac:spMkLst>
        </pc:spChg>
        <pc:spChg chg="add mod">
          <ac:chgData name="Mittermeier, Stefan" userId="94945143-6bbb-4fc1-b6eb-0ddcd12e4481" providerId="ADAL" clId="{13517B7C-9AFB-4918-ABE5-2ABAA5B6E0E3}" dt="2019-11-21T10:33:23.006" v="4481" actId="1076"/>
          <ac:spMkLst>
            <pc:docMk/>
            <pc:sldMk cId="2235249436" sldId="788"/>
            <ac:spMk id="55" creationId="{3B2E38CC-E0C7-4836-9CC5-13788C07EA11}"/>
          </ac:spMkLst>
        </pc:spChg>
        <pc:spChg chg="add mod">
          <ac:chgData name="Mittermeier, Stefan" userId="94945143-6bbb-4fc1-b6eb-0ddcd12e4481" providerId="ADAL" clId="{13517B7C-9AFB-4918-ABE5-2ABAA5B6E0E3}" dt="2019-11-21T10:33:23.006" v="4481" actId="1076"/>
          <ac:spMkLst>
            <pc:docMk/>
            <pc:sldMk cId="2235249436" sldId="788"/>
            <ac:spMk id="56" creationId="{F6E45410-7615-48CF-A84C-9EA5961AB2C0}"/>
          </ac:spMkLst>
        </pc:spChg>
        <pc:spChg chg="add mod">
          <ac:chgData name="Mittermeier, Stefan" userId="94945143-6bbb-4fc1-b6eb-0ddcd12e4481" providerId="ADAL" clId="{13517B7C-9AFB-4918-ABE5-2ABAA5B6E0E3}" dt="2019-11-21T10:33:23.006" v="4481" actId="1076"/>
          <ac:spMkLst>
            <pc:docMk/>
            <pc:sldMk cId="2235249436" sldId="788"/>
            <ac:spMk id="57" creationId="{DC30ECBD-2232-4A59-89F6-B4727AB5C771}"/>
          </ac:spMkLst>
        </pc:spChg>
        <pc:spChg chg="add mod">
          <ac:chgData name="Mittermeier, Stefan" userId="94945143-6bbb-4fc1-b6eb-0ddcd12e4481" providerId="ADAL" clId="{13517B7C-9AFB-4918-ABE5-2ABAA5B6E0E3}" dt="2019-11-21T10:33:23.006" v="4481" actId="1076"/>
          <ac:spMkLst>
            <pc:docMk/>
            <pc:sldMk cId="2235249436" sldId="788"/>
            <ac:spMk id="58" creationId="{B0304475-78C5-4241-B36A-FA3C17C690DB}"/>
          </ac:spMkLst>
        </pc:spChg>
        <pc:spChg chg="add mod">
          <ac:chgData name="Mittermeier, Stefan" userId="94945143-6bbb-4fc1-b6eb-0ddcd12e4481" providerId="ADAL" clId="{13517B7C-9AFB-4918-ABE5-2ABAA5B6E0E3}" dt="2019-11-21T10:33:23.006" v="4481" actId="1076"/>
          <ac:spMkLst>
            <pc:docMk/>
            <pc:sldMk cId="2235249436" sldId="788"/>
            <ac:spMk id="59" creationId="{40C8EC87-52B7-40D4-9BD1-9E35B57E6535}"/>
          </ac:spMkLst>
        </pc:spChg>
      </pc:sldChg>
      <pc:sldChg chg="addSp delSp modSp add">
        <pc:chgData name="Mittermeier, Stefan" userId="94945143-6bbb-4fc1-b6eb-0ddcd12e4481" providerId="ADAL" clId="{13517B7C-9AFB-4918-ABE5-2ABAA5B6E0E3}" dt="2019-11-21T12:22:33.149" v="4708" actId="20577"/>
        <pc:sldMkLst>
          <pc:docMk/>
          <pc:sldMk cId="4075250547" sldId="789"/>
        </pc:sldMkLst>
        <pc:spChg chg="mod">
          <ac:chgData name="Mittermeier, Stefan" userId="94945143-6bbb-4fc1-b6eb-0ddcd12e4481" providerId="ADAL" clId="{13517B7C-9AFB-4918-ABE5-2ABAA5B6E0E3}" dt="2019-11-21T12:21:12.894" v="4550" actId="14100"/>
          <ac:spMkLst>
            <pc:docMk/>
            <pc:sldMk cId="4075250547" sldId="789"/>
            <ac:spMk id="19" creationId="{00000000-0000-0000-0000-000000000000}"/>
          </ac:spMkLst>
        </pc:spChg>
        <pc:spChg chg="mod">
          <ac:chgData name="Mittermeier, Stefan" userId="94945143-6bbb-4fc1-b6eb-0ddcd12e4481" providerId="ADAL" clId="{13517B7C-9AFB-4918-ABE5-2ABAA5B6E0E3}" dt="2019-11-21T12:22:33.149" v="4708" actId="20577"/>
          <ac:spMkLst>
            <pc:docMk/>
            <pc:sldMk cId="4075250547" sldId="789"/>
            <ac:spMk id="65" creationId="{B8B8CBD6-3B3C-4CED-8A92-C610AF0AF67E}"/>
          </ac:spMkLst>
        </pc:spChg>
        <pc:spChg chg="del">
          <ac:chgData name="Mittermeier, Stefan" userId="94945143-6bbb-4fc1-b6eb-0ddcd12e4481" providerId="ADAL" clId="{13517B7C-9AFB-4918-ABE5-2ABAA5B6E0E3}" dt="2019-11-21T12:20:48.017" v="4499" actId="478"/>
          <ac:spMkLst>
            <pc:docMk/>
            <pc:sldMk cId="4075250547" sldId="789"/>
            <ac:spMk id="199" creationId="{C74F52BB-BA57-4F1B-AAFB-FA49247A0E4E}"/>
          </ac:spMkLst>
        </pc:spChg>
        <pc:spChg chg="del">
          <ac:chgData name="Mittermeier, Stefan" userId="94945143-6bbb-4fc1-b6eb-0ddcd12e4481" providerId="ADAL" clId="{13517B7C-9AFB-4918-ABE5-2ABAA5B6E0E3}" dt="2019-11-21T12:20:48.017" v="4499" actId="478"/>
          <ac:spMkLst>
            <pc:docMk/>
            <pc:sldMk cId="4075250547" sldId="789"/>
            <ac:spMk id="200" creationId="{E0985334-97DB-4829-81BB-BB885B7FE5C0}"/>
          </ac:spMkLst>
        </pc:spChg>
        <pc:spChg chg="del">
          <ac:chgData name="Mittermeier, Stefan" userId="94945143-6bbb-4fc1-b6eb-0ddcd12e4481" providerId="ADAL" clId="{13517B7C-9AFB-4918-ABE5-2ABAA5B6E0E3}" dt="2019-11-21T12:20:48.017" v="4499" actId="478"/>
          <ac:spMkLst>
            <pc:docMk/>
            <pc:sldMk cId="4075250547" sldId="789"/>
            <ac:spMk id="202" creationId="{00908F2B-10D5-4992-8BF5-A7E2C3D2B9F0}"/>
          </ac:spMkLst>
        </pc:spChg>
        <pc:spChg chg="del">
          <ac:chgData name="Mittermeier, Stefan" userId="94945143-6bbb-4fc1-b6eb-0ddcd12e4481" providerId="ADAL" clId="{13517B7C-9AFB-4918-ABE5-2ABAA5B6E0E3}" dt="2019-11-21T12:20:48.017" v="4499" actId="478"/>
          <ac:spMkLst>
            <pc:docMk/>
            <pc:sldMk cId="4075250547" sldId="789"/>
            <ac:spMk id="209" creationId="{9C85A905-6F6B-47A7-947D-0E077248486C}"/>
          </ac:spMkLst>
        </pc:spChg>
        <pc:spChg chg="del">
          <ac:chgData name="Mittermeier, Stefan" userId="94945143-6bbb-4fc1-b6eb-0ddcd12e4481" providerId="ADAL" clId="{13517B7C-9AFB-4918-ABE5-2ABAA5B6E0E3}" dt="2019-11-21T12:20:48.017" v="4499" actId="478"/>
          <ac:spMkLst>
            <pc:docMk/>
            <pc:sldMk cId="4075250547" sldId="789"/>
            <ac:spMk id="211" creationId="{609ECA01-8494-4FED-A87D-6F4BA26C3F89}"/>
          </ac:spMkLst>
        </pc:spChg>
        <pc:grpChg chg="del">
          <ac:chgData name="Mittermeier, Stefan" userId="94945143-6bbb-4fc1-b6eb-0ddcd12e4481" providerId="ADAL" clId="{13517B7C-9AFB-4918-ABE5-2ABAA5B6E0E3}" dt="2019-11-21T12:20:48.017" v="4499" actId="478"/>
          <ac:grpSpMkLst>
            <pc:docMk/>
            <pc:sldMk cId="4075250547" sldId="789"/>
            <ac:grpSpMk id="4" creationId="{3D39BA62-CB6D-4D87-997C-6E1960DD010E}"/>
          </ac:grpSpMkLst>
        </pc:grpChg>
        <pc:grpChg chg="del">
          <ac:chgData name="Mittermeier, Stefan" userId="94945143-6bbb-4fc1-b6eb-0ddcd12e4481" providerId="ADAL" clId="{13517B7C-9AFB-4918-ABE5-2ABAA5B6E0E3}" dt="2019-11-21T12:20:48.017" v="4499" actId="478"/>
          <ac:grpSpMkLst>
            <pc:docMk/>
            <pc:sldMk cId="4075250547" sldId="789"/>
            <ac:grpSpMk id="10" creationId="{6CC68E8A-E60D-4571-B13F-DC047C7BB89F}"/>
          </ac:grpSpMkLst>
        </pc:grpChg>
        <pc:grpChg chg="del">
          <ac:chgData name="Mittermeier, Stefan" userId="94945143-6bbb-4fc1-b6eb-0ddcd12e4481" providerId="ADAL" clId="{13517B7C-9AFB-4918-ABE5-2ABAA5B6E0E3}" dt="2019-11-21T12:20:48.017" v="4499" actId="478"/>
          <ac:grpSpMkLst>
            <pc:docMk/>
            <pc:sldMk cId="4075250547" sldId="789"/>
            <ac:grpSpMk id="72" creationId="{D05FE86E-FBD4-462D-B78D-939F726A5D02}"/>
          </ac:grpSpMkLst>
        </pc:grpChg>
        <pc:grpChg chg="del">
          <ac:chgData name="Mittermeier, Stefan" userId="94945143-6bbb-4fc1-b6eb-0ddcd12e4481" providerId="ADAL" clId="{13517B7C-9AFB-4918-ABE5-2ABAA5B6E0E3}" dt="2019-11-21T12:20:48.017" v="4499" actId="478"/>
          <ac:grpSpMkLst>
            <pc:docMk/>
            <pc:sldMk cId="4075250547" sldId="789"/>
            <ac:grpSpMk id="75" creationId="{796E349E-99AD-4BE2-8F15-9BFC0C04AFA3}"/>
          </ac:grpSpMkLst>
        </pc:grpChg>
        <pc:grpChg chg="del">
          <ac:chgData name="Mittermeier, Stefan" userId="94945143-6bbb-4fc1-b6eb-0ddcd12e4481" providerId="ADAL" clId="{13517B7C-9AFB-4918-ABE5-2ABAA5B6E0E3}" dt="2019-11-21T12:20:48.017" v="4499" actId="478"/>
          <ac:grpSpMkLst>
            <pc:docMk/>
            <pc:sldMk cId="4075250547" sldId="789"/>
            <ac:grpSpMk id="82" creationId="{C9E0EC7F-2E95-42F5-86CD-1626D46C66E8}"/>
          </ac:grpSpMkLst>
        </pc:grpChg>
        <pc:grpChg chg="del">
          <ac:chgData name="Mittermeier, Stefan" userId="94945143-6bbb-4fc1-b6eb-0ddcd12e4481" providerId="ADAL" clId="{13517B7C-9AFB-4918-ABE5-2ABAA5B6E0E3}" dt="2019-11-21T12:20:48.017" v="4499" actId="478"/>
          <ac:grpSpMkLst>
            <pc:docMk/>
            <pc:sldMk cId="4075250547" sldId="789"/>
            <ac:grpSpMk id="87" creationId="{3048D281-003A-4F73-89FE-7EBF46411FC1}"/>
          </ac:grpSpMkLst>
        </pc:grpChg>
        <pc:grpChg chg="del">
          <ac:chgData name="Mittermeier, Stefan" userId="94945143-6bbb-4fc1-b6eb-0ddcd12e4481" providerId="ADAL" clId="{13517B7C-9AFB-4918-ABE5-2ABAA5B6E0E3}" dt="2019-11-21T12:20:52.652" v="4500" actId="478"/>
          <ac:grpSpMkLst>
            <pc:docMk/>
            <pc:sldMk cId="4075250547" sldId="789"/>
            <ac:grpSpMk id="96" creationId="{832E0229-AA5B-4E73-84D3-FF1A464AE829}"/>
          </ac:grpSpMkLst>
        </pc:grpChg>
        <pc:grpChg chg="del">
          <ac:chgData name="Mittermeier, Stefan" userId="94945143-6bbb-4fc1-b6eb-0ddcd12e4481" providerId="ADAL" clId="{13517B7C-9AFB-4918-ABE5-2ABAA5B6E0E3}" dt="2019-11-21T12:20:52.652" v="4500" actId="478"/>
          <ac:grpSpMkLst>
            <pc:docMk/>
            <pc:sldMk cId="4075250547" sldId="789"/>
            <ac:grpSpMk id="99" creationId="{99EE496C-AD74-461E-BD17-53EA87A115F1}"/>
          </ac:grpSpMkLst>
        </pc:grpChg>
        <pc:grpChg chg="del">
          <ac:chgData name="Mittermeier, Stefan" userId="94945143-6bbb-4fc1-b6eb-0ddcd12e4481" providerId="ADAL" clId="{13517B7C-9AFB-4918-ABE5-2ABAA5B6E0E3}" dt="2019-11-21T12:20:52.652" v="4500" actId="478"/>
          <ac:grpSpMkLst>
            <pc:docMk/>
            <pc:sldMk cId="4075250547" sldId="789"/>
            <ac:grpSpMk id="102" creationId="{67EED68E-6612-49B2-A56A-ACD4B1A6EB47}"/>
          </ac:grpSpMkLst>
        </pc:grpChg>
        <pc:grpChg chg="del">
          <ac:chgData name="Mittermeier, Stefan" userId="94945143-6bbb-4fc1-b6eb-0ddcd12e4481" providerId="ADAL" clId="{13517B7C-9AFB-4918-ABE5-2ABAA5B6E0E3}" dt="2019-11-21T12:20:52.652" v="4500" actId="478"/>
          <ac:grpSpMkLst>
            <pc:docMk/>
            <pc:sldMk cId="4075250547" sldId="789"/>
            <ac:grpSpMk id="105" creationId="{FED0074B-EACB-4C1E-ADCF-5CBEFD187BC7}"/>
          </ac:grpSpMkLst>
        </pc:grpChg>
        <pc:grpChg chg="del">
          <ac:chgData name="Mittermeier, Stefan" userId="94945143-6bbb-4fc1-b6eb-0ddcd12e4481" providerId="ADAL" clId="{13517B7C-9AFB-4918-ABE5-2ABAA5B6E0E3}" dt="2019-11-21T12:20:52.652" v="4500" actId="478"/>
          <ac:grpSpMkLst>
            <pc:docMk/>
            <pc:sldMk cId="4075250547" sldId="789"/>
            <ac:grpSpMk id="108" creationId="{A3285CAE-1104-471E-8084-74EF91131CBE}"/>
          </ac:grpSpMkLst>
        </pc:grpChg>
        <pc:picChg chg="add mod">
          <ac:chgData name="Mittermeier, Stefan" userId="94945143-6bbb-4fc1-b6eb-0ddcd12e4481" providerId="ADAL" clId="{13517B7C-9AFB-4918-ABE5-2ABAA5B6E0E3}" dt="2019-11-21T12:21:19.833" v="4553" actId="1076"/>
          <ac:picMkLst>
            <pc:docMk/>
            <pc:sldMk cId="4075250547" sldId="789"/>
            <ac:picMk id="2" creationId="{D1AD7B32-36E0-4A11-BC2A-F5EBBD97B658}"/>
          </ac:picMkLst>
        </pc:picChg>
      </pc:sldChg>
      <pc:sldChg chg="modSp add ord">
        <pc:chgData name="Mittermeier, Stefan" userId="94945143-6bbb-4fc1-b6eb-0ddcd12e4481" providerId="ADAL" clId="{13517B7C-9AFB-4918-ABE5-2ABAA5B6E0E3}" dt="2019-12-03T08:43:29.707" v="4896"/>
        <pc:sldMkLst>
          <pc:docMk/>
          <pc:sldMk cId="1714771063" sldId="790"/>
        </pc:sldMkLst>
        <pc:spChg chg="mod">
          <ac:chgData name="Mittermeier, Stefan" userId="94945143-6bbb-4fc1-b6eb-0ddcd12e4481" providerId="ADAL" clId="{13517B7C-9AFB-4918-ABE5-2ABAA5B6E0E3}" dt="2019-12-03T08:33:50.409" v="4890" actId="20577"/>
          <ac:spMkLst>
            <pc:docMk/>
            <pc:sldMk cId="1714771063" sldId="790"/>
            <ac:spMk id="19" creationId="{00000000-0000-0000-0000-000000000000}"/>
          </ac:spMkLst>
        </pc:spChg>
      </pc:sldChg>
    </pc:docChg>
  </pc:docChgLst>
  <pc:docChgLst>
    <pc:chgData name="Mittermeier, Stefan" userId="94945143-6bbb-4fc1-b6eb-0ddcd12e4481" providerId="ADAL" clId="{40FF56A3-A671-4FF7-BAB2-8E1B4F52D638}"/>
    <pc:docChg chg="modSld">
      <pc:chgData name="Mittermeier, Stefan" userId="94945143-6bbb-4fc1-b6eb-0ddcd12e4481" providerId="ADAL" clId="{40FF56A3-A671-4FF7-BAB2-8E1B4F52D638}" dt="2019-11-18T14:04:48.135" v="42" actId="20577"/>
      <pc:docMkLst>
        <pc:docMk/>
      </pc:docMkLst>
      <pc:sldChg chg="modSp">
        <pc:chgData name="Mittermeier, Stefan" userId="94945143-6bbb-4fc1-b6eb-0ddcd12e4481" providerId="ADAL" clId="{40FF56A3-A671-4FF7-BAB2-8E1B4F52D638}" dt="2019-11-18T14:04:48.135" v="42" actId="20577"/>
        <pc:sldMkLst>
          <pc:docMk/>
          <pc:sldMk cId="1406550831" sldId="276"/>
        </pc:sldMkLst>
        <pc:spChg chg="mod">
          <ac:chgData name="Mittermeier, Stefan" userId="94945143-6bbb-4fc1-b6eb-0ddcd12e4481" providerId="ADAL" clId="{40FF56A3-A671-4FF7-BAB2-8E1B4F52D638}" dt="2019-11-18T14:04:48.135" v="42" actId="20577"/>
          <ac:spMkLst>
            <pc:docMk/>
            <pc:sldMk cId="1406550831" sldId="276"/>
            <ac:spMk id="2" creationId="{00000000-0000-0000-0000-000000000000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C01E832-5B5C-400B-8E23-F88350B9680C}" type="datetimeFigureOut">
              <a:rPr lang="de-DE" smtClean="0"/>
              <a:t>03.12.2019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3ADEE72-0680-4443-857C-A628FAEF9FD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7682587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697F84-9FA5-4831-A176-2D2D6AFC06D8}" type="slidenum">
              <a:rPr kumimoji="0" lang="de-DE" sz="1300" b="0" i="0" u="none" strike="noStrike" kern="1200" cap="none" spc="0" normalizeH="0" baseline="0" noProof="0" smtClean="0">
                <a:ln>
                  <a:noFill/>
                </a:ln>
                <a:solidFill>
                  <a:srgbClr val="303133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de-DE" sz="1300" b="0" i="0" u="none" strike="noStrike" kern="1200" cap="none" spc="0" normalizeH="0" baseline="0" noProof="0">
              <a:ln>
                <a:noFill/>
              </a:ln>
              <a:solidFill>
                <a:srgbClr val="303133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032264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ADEE72-0680-4443-857C-A628FAEF9FD2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6699534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ADEE72-0680-4443-857C-A628FAEF9FD2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5206940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ADEE72-0680-4443-857C-A628FAEF9FD2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2854361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ADEE72-0680-4443-857C-A628FAEF9FD2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3407774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ADEE72-0680-4443-857C-A628FAEF9FD2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3281359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ADEE72-0680-4443-857C-A628FAEF9FD2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2569512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ADEE72-0680-4443-857C-A628FAEF9FD2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3573165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ADEE72-0680-4443-857C-A628FAEF9FD2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116324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3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4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6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7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8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9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0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0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1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350"/>
          </a:p>
        </p:txBody>
      </p:sp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Folie" r:id="rId4" imgW="240" imgH="240" progId="TCLayout.ActiveDocument.1">
                  <p:embed/>
                </p:oleObj>
              </mc:Choice>
              <mc:Fallback>
                <p:oleObj name="think-cell Folie" r:id="rId4" imgW="240" imgH="24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258597" y="2967337"/>
            <a:ext cx="10368000" cy="638507"/>
          </a:xfrm>
        </p:spPr>
        <p:txBody>
          <a:bodyPr tIns="36000"/>
          <a:lstStyle>
            <a:lvl1pPr>
              <a:lnSpc>
                <a:spcPct val="100000"/>
              </a:lnSpc>
              <a:defRPr sz="3150" cap="all" baseline="0">
                <a:solidFill>
                  <a:schemeClr val="accent6"/>
                </a:solidFill>
                <a:latin typeface="Source Sans Pro Semibold" pitchFamily="34" charset="0"/>
              </a:defRPr>
            </a:lvl1pPr>
          </a:lstStyle>
          <a:p>
            <a:r>
              <a:rPr lang="de-DE" dirty="0"/>
              <a:t>MVI Group Folienmaster kurz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258596" y="2405118"/>
            <a:ext cx="10368000" cy="349702"/>
          </a:xfrm>
        </p:spPr>
        <p:txBody>
          <a:bodyPr anchor="b"/>
          <a:lstStyle>
            <a:lvl1pPr marL="0" indent="0" algn="l">
              <a:buNone/>
              <a:defRPr sz="1800">
                <a:solidFill>
                  <a:schemeClr val="tx1"/>
                </a:solidFill>
                <a:latin typeface="+mj-lt"/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Titel der Präsentation</a:t>
            </a:r>
          </a:p>
        </p:txBody>
      </p:sp>
      <p:sp>
        <p:nvSpPr>
          <p:cNvPr id="8" name="Textplatzhalter 2"/>
          <p:cNvSpPr>
            <a:spLocks noGrp="1"/>
          </p:cNvSpPr>
          <p:nvPr>
            <p:ph type="body" idx="10" hasCustomPrompt="1"/>
          </p:nvPr>
        </p:nvSpPr>
        <p:spPr>
          <a:xfrm>
            <a:off x="258599" y="3701200"/>
            <a:ext cx="10365812" cy="228369"/>
          </a:xfrm>
        </p:spPr>
        <p:txBody>
          <a:bodyPr anchor="t">
            <a:noAutofit/>
          </a:bodyPr>
          <a:lstStyle>
            <a:lvl1pPr marL="0" indent="0">
              <a:buNone/>
              <a:defRPr sz="1050" b="0" baseline="0">
                <a:latin typeface="+mn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 dirty="0"/>
              <a:t>Stand: 00. Januar 2016</a:t>
            </a:r>
          </a:p>
        </p:txBody>
      </p:sp>
    </p:spTree>
    <p:extLst>
      <p:ext uri="{BB962C8B-B14F-4D97-AF65-F5344CB8AC3E}">
        <p14:creationId xmlns:p14="http://schemas.microsoft.com/office/powerpoint/2010/main" val="88259404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agw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8" name="think-cell Folie" r:id="rId4" imgW="240" imgH="240" progId="TCLayout.ActiveDocument.1">
                  <p:embed/>
                </p:oleObj>
              </mc:Choice>
              <mc:Fallback>
                <p:oleObj name="think-cell Folie" r:id="rId4" imgW="240" imgH="24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89621" y="919196"/>
            <a:ext cx="9696000" cy="432000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89623" y="2831566"/>
            <a:ext cx="9696000" cy="1252513"/>
          </a:xfrm>
        </p:spPr>
        <p:txBody>
          <a:bodyPr>
            <a:spAutoFit/>
          </a:bodyPr>
          <a:lstStyle>
            <a:lvl1pPr marL="0" indent="0"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None/>
              <a:defRPr sz="1200" baseline="0">
                <a:latin typeface="+mn-lt"/>
              </a:defRPr>
            </a:lvl1pPr>
            <a:lvl2pPr marL="203597" indent="-203597">
              <a:spcAft>
                <a:spcPts val="45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latin typeface="+mn-lt"/>
              </a:defRPr>
            </a:lvl2pPr>
            <a:lvl3pPr marL="336947" indent="-133350">
              <a:spcAft>
                <a:spcPts val="450"/>
              </a:spcAft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sz="1200">
                <a:latin typeface="+mn-lt"/>
              </a:defRPr>
            </a:lvl3pPr>
            <a:lvl4pPr marL="470297" indent="-133350">
              <a:spcAft>
                <a:spcPts val="450"/>
              </a:spcAft>
              <a:buClrTx/>
              <a:buFont typeface="Symbol" panose="05050102010706020507" pitchFamily="18" charset="2"/>
              <a:buChar char="-"/>
              <a:defRPr sz="1200">
                <a:latin typeface="+mn-lt"/>
              </a:defRPr>
            </a:lvl4pPr>
            <a:lvl5pPr marL="603647" indent="-133350">
              <a:spcAft>
                <a:spcPts val="450"/>
              </a:spcAft>
              <a:buClrTx/>
              <a:buFont typeface="Symbol" panose="05050102010706020507" pitchFamily="18" charset="2"/>
              <a:buChar char="-"/>
              <a:defRPr sz="1200">
                <a:latin typeface="+mn-lt"/>
              </a:defRPr>
            </a:lvl5pPr>
          </a:lstStyle>
          <a:p>
            <a:pPr lvl="0"/>
            <a:r>
              <a:rPr lang="de-DE" dirty="0"/>
              <a:t>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8448264" y="10006"/>
            <a:ext cx="1140525" cy="257369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master der MVI Group                                                                                                                                                     01.09.2016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930CFF-92E5-45D8-B02D-7D2C24FD84C9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Textplatzhalter 2"/>
          <p:cNvSpPr>
            <a:spLocks noGrp="1"/>
          </p:cNvSpPr>
          <p:nvPr>
            <p:ph type="body" idx="13" hasCustomPrompt="1"/>
          </p:nvPr>
        </p:nvSpPr>
        <p:spPr>
          <a:xfrm>
            <a:off x="389621" y="1839054"/>
            <a:ext cx="9696000" cy="695951"/>
          </a:xfrm>
        </p:spPr>
        <p:txBody>
          <a:bodyPr anchor="t"/>
          <a:lstStyle>
            <a:lvl1pPr marL="0" indent="0">
              <a:buNone/>
              <a:defRPr sz="4050" b="0">
                <a:latin typeface="Source Sans Pro Semibold" pitchFamily="34" charset="0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 dirty="0"/>
              <a:t>Schlagwort</a:t>
            </a:r>
          </a:p>
        </p:txBody>
      </p:sp>
      <p:sp>
        <p:nvSpPr>
          <p:cNvPr id="9" name="Textplatzhalter 2"/>
          <p:cNvSpPr>
            <a:spLocks noGrp="1"/>
          </p:cNvSpPr>
          <p:nvPr>
            <p:ph type="body" idx="17" hasCustomPrompt="1"/>
          </p:nvPr>
        </p:nvSpPr>
        <p:spPr>
          <a:xfrm>
            <a:off x="917814" y="6127440"/>
            <a:ext cx="5178188" cy="360000"/>
          </a:xfrm>
          <a:solidFill>
            <a:schemeClr val="accent1"/>
          </a:solidFill>
          <a:ln>
            <a:noFill/>
          </a:ln>
        </p:spPr>
        <p:txBody>
          <a:bodyPr wrap="none" lIns="180000" anchor="ctr">
            <a:noAutofit/>
          </a:bodyPr>
          <a:lstStyle>
            <a:lvl1pPr marL="0" indent="0" algn="l">
              <a:buNone/>
              <a:defRPr sz="1050" b="0" baseline="0">
                <a:solidFill>
                  <a:schemeClr val="bg1"/>
                </a:solidFill>
                <a:latin typeface="Source Sans Pro Semibold" pitchFamily="34" charset="0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 dirty="0"/>
              <a:t>Hinweis</a:t>
            </a:r>
          </a:p>
        </p:txBody>
      </p:sp>
      <p:sp>
        <p:nvSpPr>
          <p:cNvPr id="10" name="Textplatzhalter 2"/>
          <p:cNvSpPr>
            <a:spLocks noGrp="1"/>
          </p:cNvSpPr>
          <p:nvPr>
            <p:ph type="body" idx="19" hasCustomPrompt="1"/>
          </p:nvPr>
        </p:nvSpPr>
        <p:spPr>
          <a:xfrm>
            <a:off x="448733" y="6127440"/>
            <a:ext cx="480000" cy="360000"/>
          </a:xfrm>
          <a:solidFill>
            <a:schemeClr val="tx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200" b="0">
                <a:solidFill>
                  <a:schemeClr val="bg1"/>
                </a:solidFill>
                <a:latin typeface="Source Sans Pro Semibold" pitchFamily="34" charset="0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61420956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/>
          </a:p>
        </p:txBody>
      </p:sp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6" name="think-cell Folie" r:id="rId4" imgW="240" imgH="240" progId="TCLayout.ActiveDocument.1">
                  <p:embed/>
                </p:oleObj>
              </mc:Choice>
              <mc:Fallback>
                <p:oleObj name="think-cell Folie" r:id="rId4" imgW="240" imgH="24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258597" y="2967335"/>
            <a:ext cx="10368000" cy="638507"/>
          </a:xfrm>
        </p:spPr>
        <p:txBody>
          <a:bodyPr tIns="36000"/>
          <a:lstStyle>
            <a:lvl1pPr>
              <a:lnSpc>
                <a:spcPct val="100000"/>
              </a:lnSpc>
              <a:defRPr sz="4200" cap="all" baseline="0">
                <a:solidFill>
                  <a:schemeClr val="accent6"/>
                </a:solidFill>
                <a:latin typeface="Source Sans Pro Semibold" pitchFamily="34" charset="0"/>
              </a:defRPr>
            </a:lvl1pPr>
          </a:lstStyle>
          <a:p>
            <a:r>
              <a:rPr lang="de-DE" dirty="0"/>
              <a:t>MVI Group Folienmaster kurz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258596" y="2312784"/>
            <a:ext cx="10368000" cy="442035"/>
          </a:xfrm>
        </p:spPr>
        <p:txBody>
          <a:bodyPr anchor="b"/>
          <a:lstStyle>
            <a:lvl1pPr marL="0" indent="0" algn="l">
              <a:buNone/>
              <a:defRPr sz="240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Titel der Präsentation</a:t>
            </a:r>
          </a:p>
        </p:txBody>
      </p:sp>
      <p:sp>
        <p:nvSpPr>
          <p:cNvPr id="8" name="Textplatzhalter 2"/>
          <p:cNvSpPr>
            <a:spLocks noGrp="1"/>
          </p:cNvSpPr>
          <p:nvPr>
            <p:ph type="body" idx="10" hasCustomPrompt="1"/>
          </p:nvPr>
        </p:nvSpPr>
        <p:spPr>
          <a:xfrm>
            <a:off x="258598" y="3701198"/>
            <a:ext cx="10365812" cy="228369"/>
          </a:xfrm>
        </p:spPr>
        <p:txBody>
          <a:bodyPr anchor="t">
            <a:noAutofit/>
          </a:bodyPr>
          <a:lstStyle>
            <a:lvl1pPr marL="0" indent="0">
              <a:buNone/>
              <a:defRPr sz="1400" b="0" baseline="0"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Stand: 00. Januar 2016</a:t>
            </a:r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85555" y="0"/>
            <a:ext cx="2550695" cy="1378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999824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0" name="think-cell Folie" r:id="rId4" imgW="240" imgH="240" progId="TCLayout.ActiveDocument.1">
                  <p:embed/>
                </p:oleObj>
              </mc:Choice>
              <mc:Fallback>
                <p:oleObj name="think-cell Folie" r:id="rId4" imgW="240" imgH="24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89621" y="919195"/>
            <a:ext cx="9696000" cy="82800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Titelmasterformat </a:t>
            </a:r>
            <a:br>
              <a:rPr lang="de-DE" dirty="0"/>
            </a:br>
            <a:r>
              <a:rPr lang="de-DE" dirty="0"/>
              <a:t>durch Klicken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master der MVI Group                                                                                                                                                     01.09.2016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930CFF-92E5-45D8-B02D-7D2C24FD84C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0884905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4" name="think-cell Folie" r:id="rId4" imgW="240" imgH="240" progId="TCLayout.ActiveDocument.1">
                  <p:embed/>
                </p:oleObj>
              </mc:Choice>
              <mc:Fallback>
                <p:oleObj name="think-cell Folie" r:id="rId4" imgW="240" imgH="24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Inhaltsplatzhalter 2"/>
          <p:cNvSpPr>
            <a:spLocks noGrp="1"/>
          </p:cNvSpPr>
          <p:nvPr>
            <p:ph idx="13" hasCustomPrompt="1"/>
          </p:nvPr>
        </p:nvSpPr>
        <p:spPr>
          <a:xfrm>
            <a:off x="389623" y="1935688"/>
            <a:ext cx="10909144" cy="5812736"/>
          </a:xfrm>
        </p:spPr>
        <p:txBody>
          <a:bodyPr wrap="square">
            <a:spAutoFit/>
          </a:bodyPr>
          <a:lstStyle>
            <a:lvl1pPr marL="0" indent="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sz="1600" baseline="0">
                <a:latin typeface="+mn-lt"/>
              </a:defRPr>
            </a:lvl1pPr>
            <a:lvl2pPr marL="271463" indent="-271463"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>
                <a:latin typeface="+mn-lt"/>
              </a:defRPr>
            </a:lvl2pPr>
            <a:lvl3pPr marL="449263" indent="-177800">
              <a:spcAft>
                <a:spcPts val="600"/>
              </a:spcAft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sz="1600">
                <a:latin typeface="+mn-lt"/>
              </a:defRPr>
            </a:lvl3pPr>
            <a:lvl4pPr marL="627063" indent="-177800">
              <a:spcAft>
                <a:spcPts val="600"/>
              </a:spcAft>
              <a:buClrTx/>
              <a:buFont typeface="Symbol" panose="05050102010706020507" pitchFamily="18" charset="2"/>
              <a:buChar char="-"/>
              <a:defRPr sz="1600">
                <a:latin typeface="+mn-lt"/>
              </a:defRPr>
            </a:lvl4pPr>
            <a:lvl5pPr marL="804863" indent="-177800">
              <a:spcAft>
                <a:spcPts val="600"/>
              </a:spcAft>
              <a:buClrTx/>
              <a:buFont typeface="Symbol" panose="05050102010706020507" pitchFamily="18" charset="2"/>
              <a:buChar char="-"/>
              <a:defRPr sz="1600">
                <a:latin typeface="+mn-lt"/>
              </a:defRPr>
            </a:lvl5pPr>
          </a:lstStyle>
          <a:p>
            <a:pPr lvl="0"/>
            <a:r>
              <a:rPr lang="de-DE" dirty="0"/>
              <a:t>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4"/>
            <a:endParaRPr lang="de-DE"/>
          </a:p>
          <a:p>
            <a:pPr lvl="4"/>
            <a:endParaRPr lang="de-DE"/>
          </a:p>
          <a:p>
            <a:pPr lvl="4"/>
            <a:endParaRPr lang="de-DE"/>
          </a:p>
          <a:p>
            <a:pPr lvl="4"/>
            <a:endParaRPr lang="de-DE"/>
          </a:p>
          <a:p>
            <a:pPr lvl="4"/>
            <a:endParaRPr lang="de-DE"/>
          </a:p>
          <a:p>
            <a:pPr lvl="4"/>
            <a:endParaRPr lang="de-DE"/>
          </a:p>
          <a:p>
            <a:pPr lvl="4"/>
            <a:endParaRPr lang="de-DE"/>
          </a:p>
          <a:p>
            <a:pPr lvl="4"/>
            <a:endParaRPr lang="de-DE"/>
          </a:p>
          <a:p>
            <a:pPr lvl="4"/>
            <a:endParaRPr lang="de-DE"/>
          </a:p>
          <a:p>
            <a:pPr lvl="4"/>
            <a:endParaRPr lang="de-DE"/>
          </a:p>
          <a:p>
            <a:pPr lvl="4"/>
            <a:endParaRPr lang="de-DE"/>
          </a:p>
          <a:p>
            <a:pPr lvl="4"/>
            <a:endParaRPr lang="de-DE"/>
          </a:p>
          <a:p>
            <a:pPr lvl="4"/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89621" y="919195"/>
            <a:ext cx="9696000" cy="82800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Titelmasterformat </a:t>
            </a:r>
            <a:br>
              <a:rPr lang="de-DE" dirty="0"/>
            </a:br>
            <a:r>
              <a:rPr lang="de-DE" dirty="0"/>
              <a:t>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8448263" y="10004"/>
            <a:ext cx="1140525" cy="257369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master der MVI Group                                                                                                                                                     01.09.2016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930CFF-92E5-45D8-B02D-7D2C24FD84C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7142088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Hinwe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8" name="think-cell Folie" r:id="rId4" imgW="240" imgH="240" progId="TCLayout.ActiveDocument.1">
                  <p:embed/>
                </p:oleObj>
              </mc:Choice>
              <mc:Fallback>
                <p:oleObj name="think-cell Folie" r:id="rId4" imgW="240" imgH="24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89621" y="919195"/>
            <a:ext cx="9696000" cy="82800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Titelmasterformat </a:t>
            </a:r>
            <a:br>
              <a:rPr lang="de-DE" dirty="0"/>
            </a:br>
            <a:r>
              <a:rPr lang="de-DE" dirty="0"/>
              <a:t>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89623" y="1935688"/>
            <a:ext cx="9696000" cy="1611586"/>
          </a:xfrm>
        </p:spPr>
        <p:txBody>
          <a:bodyPr>
            <a:spAutoFit/>
          </a:bodyPr>
          <a:lstStyle>
            <a:lvl1pPr marL="0" indent="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sz="1600" baseline="0">
                <a:latin typeface="+mn-lt"/>
              </a:defRPr>
            </a:lvl1pPr>
            <a:lvl2pPr marL="271463" indent="-271463"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>
                <a:latin typeface="+mn-lt"/>
              </a:defRPr>
            </a:lvl2pPr>
            <a:lvl3pPr marL="449263" indent="-177800">
              <a:spcAft>
                <a:spcPts val="600"/>
              </a:spcAft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sz="1600">
                <a:latin typeface="+mn-lt"/>
              </a:defRPr>
            </a:lvl3pPr>
            <a:lvl4pPr marL="627063" indent="-177800">
              <a:spcAft>
                <a:spcPts val="600"/>
              </a:spcAft>
              <a:buClrTx/>
              <a:buFont typeface="Symbol" panose="05050102010706020507" pitchFamily="18" charset="2"/>
              <a:buChar char="-"/>
              <a:defRPr sz="1600">
                <a:latin typeface="+mn-lt"/>
              </a:defRPr>
            </a:lvl4pPr>
            <a:lvl5pPr marL="804863" indent="-177800">
              <a:spcAft>
                <a:spcPts val="600"/>
              </a:spcAft>
              <a:buClrTx/>
              <a:buFont typeface="Symbol" panose="05050102010706020507" pitchFamily="18" charset="2"/>
              <a:buChar char="-"/>
              <a:defRPr sz="1600">
                <a:latin typeface="+mn-lt"/>
              </a:defRPr>
            </a:lvl5pPr>
          </a:lstStyle>
          <a:p>
            <a:pPr lvl="0"/>
            <a:r>
              <a:rPr lang="de-DE" dirty="0"/>
              <a:t>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8448263" y="10004"/>
            <a:ext cx="1140525" cy="257369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master der MVI Group                                                                                                                                                     01.09.2016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930CFF-92E5-45D8-B02D-7D2C24FD84C9}" type="slidenum">
              <a:rPr lang="de-DE" smtClean="0"/>
              <a:t>‹Nr.›</a:t>
            </a:fld>
            <a:endParaRPr lang="de-DE"/>
          </a:p>
        </p:txBody>
      </p:sp>
      <p:sp>
        <p:nvSpPr>
          <p:cNvPr id="7" name="Textplatzhalter 2"/>
          <p:cNvSpPr>
            <a:spLocks noGrp="1"/>
          </p:cNvSpPr>
          <p:nvPr>
            <p:ph type="body" idx="17" hasCustomPrompt="1"/>
          </p:nvPr>
        </p:nvSpPr>
        <p:spPr>
          <a:xfrm>
            <a:off x="917813" y="6127440"/>
            <a:ext cx="5178188" cy="360000"/>
          </a:xfrm>
          <a:solidFill>
            <a:schemeClr val="accent1"/>
          </a:solidFill>
          <a:ln>
            <a:noFill/>
          </a:ln>
        </p:spPr>
        <p:txBody>
          <a:bodyPr wrap="none" lIns="180000" anchor="ctr">
            <a:noAutofit/>
          </a:bodyPr>
          <a:lstStyle>
            <a:lvl1pPr marL="0" indent="0" algn="l">
              <a:buNone/>
              <a:defRPr sz="1400" b="0" baseline="0">
                <a:solidFill>
                  <a:schemeClr val="bg1"/>
                </a:solidFill>
                <a:latin typeface="Source Sans Pro Semibold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Hinweis</a:t>
            </a:r>
          </a:p>
        </p:txBody>
      </p:sp>
      <p:sp>
        <p:nvSpPr>
          <p:cNvPr id="14" name="Textplatzhalter 2"/>
          <p:cNvSpPr>
            <a:spLocks noGrp="1"/>
          </p:cNvSpPr>
          <p:nvPr>
            <p:ph type="body" idx="19" hasCustomPrompt="1"/>
          </p:nvPr>
        </p:nvSpPr>
        <p:spPr>
          <a:xfrm>
            <a:off x="448733" y="6127440"/>
            <a:ext cx="480000" cy="360000"/>
          </a:xfrm>
          <a:solidFill>
            <a:schemeClr val="tx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600" b="0">
                <a:solidFill>
                  <a:schemeClr val="bg1"/>
                </a:solidFill>
                <a:latin typeface="Source Sans Pro Semibold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47351128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2" name="think-cell Folie" r:id="rId4" imgW="240" imgH="240" progId="TCLayout.ActiveDocument.1">
                  <p:embed/>
                </p:oleObj>
              </mc:Choice>
              <mc:Fallback>
                <p:oleObj name="think-cell Folie" r:id="rId4" imgW="240" imgH="24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89621" y="919195"/>
            <a:ext cx="9696000" cy="82800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Titelmasterformat </a:t>
            </a:r>
            <a:br>
              <a:rPr lang="de-DE" dirty="0"/>
            </a:br>
            <a:r>
              <a:rPr lang="de-DE" dirty="0"/>
              <a:t>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89624" y="1935688"/>
            <a:ext cx="5706377" cy="4571475"/>
          </a:xfrm>
        </p:spPr>
        <p:txBody>
          <a:bodyPr wrap="square">
            <a:noAutofit/>
          </a:bodyPr>
          <a:lstStyle>
            <a:lvl1pPr marL="266700" indent="-266700">
              <a:lnSpc>
                <a:spcPct val="100000"/>
              </a:lnSpc>
              <a:spcAft>
                <a:spcPts val="1600"/>
              </a:spcAft>
              <a:buClr>
                <a:schemeClr val="tx2"/>
              </a:buClr>
              <a:buFont typeface="+mj-lt"/>
              <a:buAutoNum type="arabicPeriod"/>
              <a:defRPr sz="1600" baseline="0">
                <a:latin typeface="+mn-lt"/>
              </a:defRPr>
            </a:lvl1pPr>
            <a:lvl2pPr marL="266700" indent="-266700">
              <a:spcAft>
                <a:spcPts val="0"/>
              </a:spcAft>
              <a:buClr>
                <a:schemeClr val="accent1"/>
              </a:buClr>
              <a:buSzPct val="100000"/>
              <a:buFont typeface="+mj-lt"/>
              <a:buAutoNum type="arabicPeriod"/>
              <a:defRPr sz="1600">
                <a:latin typeface="+mn-lt"/>
              </a:defRPr>
            </a:lvl2pPr>
            <a:lvl3pPr marL="449263" indent="-177800">
              <a:spcAft>
                <a:spcPts val="0"/>
              </a:spcAft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sz="1600">
                <a:latin typeface="+mn-lt"/>
              </a:defRPr>
            </a:lvl3pPr>
            <a:lvl4pPr marL="627063" indent="-177800">
              <a:spcAft>
                <a:spcPts val="0"/>
              </a:spcAft>
              <a:buClrTx/>
              <a:buFont typeface="Symbol" panose="05050102010706020507" pitchFamily="18" charset="2"/>
              <a:buChar char="-"/>
              <a:defRPr sz="1600">
                <a:latin typeface="+mn-lt"/>
              </a:defRPr>
            </a:lvl4pPr>
            <a:lvl5pPr marL="804863" indent="-177800">
              <a:spcAft>
                <a:spcPts val="0"/>
              </a:spcAft>
              <a:buClrTx/>
              <a:buFont typeface="Symbol" panose="05050102010706020507" pitchFamily="18" charset="2"/>
              <a:buChar char="-"/>
              <a:defRPr sz="1600">
                <a:latin typeface="+mn-lt"/>
              </a:defRPr>
            </a:lvl5pPr>
          </a:lstStyle>
          <a:p>
            <a:pPr lvl="0"/>
            <a:r>
              <a:rPr lang="de-DE" dirty="0"/>
              <a:t>Erste Ebene</a:t>
            </a:r>
          </a:p>
          <a:p>
            <a:pPr lvl="1"/>
            <a:r>
              <a:rPr lang="de-DE" dirty="0"/>
              <a:t>Blau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8448263" y="10004"/>
            <a:ext cx="1140525" cy="257369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master der MVI Group                                                                                                                                                     01.09.2016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930CFF-92E5-45D8-B02D-7D2C24FD84C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6898568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m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6" name="think-cell Folie" r:id="rId4" imgW="240" imgH="240" progId="TCLayout.ActiveDocument.1">
                  <p:embed/>
                </p:oleObj>
              </mc:Choice>
              <mc:Fallback>
                <p:oleObj name="think-cell Folie" r:id="rId4" imgW="240" imgH="240" progId="TCLayout.ActiveDocument.1">
                  <p:embed/>
                  <p:pic>
                    <p:nvPicPr>
                      <p:cNvPr id="14" name="Objek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89621" y="919195"/>
            <a:ext cx="5706379" cy="82800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Titelmasterformat </a:t>
            </a:r>
            <a:br>
              <a:rPr lang="de-DE" dirty="0"/>
            </a:br>
            <a:r>
              <a:rPr lang="de-DE" dirty="0"/>
              <a:t>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89623" y="1935688"/>
            <a:ext cx="5706379" cy="1611586"/>
          </a:xfrm>
        </p:spPr>
        <p:txBody>
          <a:bodyPr wrap="square">
            <a:spAutoFit/>
          </a:bodyPr>
          <a:lstStyle>
            <a:lvl1pPr marL="0" indent="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sz="1600" baseline="0">
                <a:latin typeface="+mn-lt"/>
              </a:defRPr>
            </a:lvl1pPr>
            <a:lvl2pPr marL="271463" indent="-271463"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>
                <a:latin typeface="+mn-lt"/>
              </a:defRPr>
            </a:lvl2pPr>
            <a:lvl3pPr marL="449263" indent="-177800">
              <a:spcAft>
                <a:spcPts val="600"/>
              </a:spcAft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sz="1600">
                <a:latin typeface="+mn-lt"/>
              </a:defRPr>
            </a:lvl3pPr>
            <a:lvl4pPr marL="627063" indent="-177800">
              <a:spcAft>
                <a:spcPts val="600"/>
              </a:spcAft>
              <a:buClrTx/>
              <a:buFont typeface="Symbol" panose="05050102010706020507" pitchFamily="18" charset="2"/>
              <a:buChar char="-"/>
              <a:defRPr sz="1600">
                <a:latin typeface="+mn-lt"/>
              </a:defRPr>
            </a:lvl4pPr>
            <a:lvl5pPr marL="804863" indent="-177800">
              <a:spcAft>
                <a:spcPts val="600"/>
              </a:spcAft>
              <a:buClrTx/>
              <a:buFont typeface="Symbol" panose="05050102010706020507" pitchFamily="18" charset="2"/>
              <a:buChar char="-"/>
              <a:defRPr sz="1600">
                <a:latin typeface="+mn-lt"/>
              </a:defRPr>
            </a:lvl5pPr>
          </a:lstStyle>
          <a:p>
            <a:pPr lvl="0"/>
            <a:r>
              <a:rPr lang="de-DE" dirty="0"/>
              <a:t>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8448263" y="10004"/>
            <a:ext cx="1140525" cy="257369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master der MVI Group                                                                                                                                                     01.09.2016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930CFF-92E5-45D8-B02D-7D2C24FD84C9}" type="slidenum">
              <a:rPr lang="de-DE" smtClean="0"/>
              <a:t>‹Nr.›</a:t>
            </a:fld>
            <a:endParaRPr lang="de-DE"/>
          </a:p>
        </p:txBody>
      </p:sp>
      <p:sp>
        <p:nvSpPr>
          <p:cNvPr id="7" name="Textplatzhalter 2"/>
          <p:cNvSpPr>
            <a:spLocks noGrp="1"/>
          </p:cNvSpPr>
          <p:nvPr>
            <p:ph type="body" idx="13"/>
          </p:nvPr>
        </p:nvSpPr>
        <p:spPr>
          <a:xfrm>
            <a:off x="6096000" y="2546350"/>
            <a:ext cx="1440000" cy="1080000"/>
          </a:xfr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200" b="0">
                <a:solidFill>
                  <a:schemeClr val="bg1"/>
                </a:solidFill>
                <a:latin typeface="Source Sans Pro Semibold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8" name="Textplatzhalter 2"/>
          <p:cNvSpPr>
            <a:spLocks noGrp="1"/>
          </p:cNvSpPr>
          <p:nvPr>
            <p:ph type="body" idx="14"/>
          </p:nvPr>
        </p:nvSpPr>
        <p:spPr>
          <a:xfrm>
            <a:off x="6070417" y="5787163"/>
            <a:ext cx="5222000" cy="720000"/>
          </a:xfrm>
          <a:solidFill>
            <a:schemeClr val="tx2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200" b="0">
                <a:solidFill>
                  <a:schemeClr val="bg1"/>
                </a:solidFill>
                <a:latin typeface="Source Sans Pro Semibold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9" name="Textplatzhalter 2"/>
          <p:cNvSpPr>
            <a:spLocks noGrp="1"/>
          </p:cNvSpPr>
          <p:nvPr>
            <p:ph type="body" idx="15"/>
          </p:nvPr>
        </p:nvSpPr>
        <p:spPr>
          <a:xfrm>
            <a:off x="9852417" y="2546350"/>
            <a:ext cx="1440000" cy="1080000"/>
          </a:xfrm>
          <a:prstGeom prst="ellipse">
            <a:avLst/>
          </a:prstGeom>
          <a:noFill/>
          <a:ln w="28575">
            <a:solidFill>
              <a:schemeClr val="accent1"/>
            </a:solidFill>
          </a:ln>
        </p:spPr>
        <p:txBody>
          <a:bodyPr anchor="ctr">
            <a:noAutofit/>
          </a:bodyPr>
          <a:lstStyle>
            <a:lvl1pPr marL="0" indent="0" algn="ctr">
              <a:buNone/>
              <a:defRPr sz="1200" b="0">
                <a:solidFill>
                  <a:schemeClr val="tx1"/>
                </a:solidFill>
                <a:latin typeface="Source Sans Pro Semibold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0" name="Textplatzhalter 2"/>
          <p:cNvSpPr>
            <a:spLocks noGrp="1"/>
          </p:cNvSpPr>
          <p:nvPr>
            <p:ph type="body" idx="16"/>
          </p:nvPr>
        </p:nvSpPr>
        <p:spPr>
          <a:xfrm>
            <a:off x="7990417" y="4185145"/>
            <a:ext cx="1440000" cy="1080000"/>
          </a:xfrm>
          <a:noFill/>
          <a:ln w="6350">
            <a:solidFill>
              <a:schemeClr val="tx1"/>
            </a:solidFill>
            <a:prstDash val="solid"/>
          </a:ln>
        </p:spPr>
        <p:txBody>
          <a:bodyPr lIns="72000" rIns="72000" anchor="ctr">
            <a:noAutofit/>
          </a:bodyPr>
          <a:lstStyle>
            <a:lvl1pPr marL="0" indent="0" algn="l">
              <a:buNone/>
              <a:defRPr sz="1200" b="0">
                <a:solidFill>
                  <a:schemeClr val="tx1"/>
                </a:solidFill>
                <a:latin typeface="Source Sans Pro Semibold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1" name="Textplatzhalter 2"/>
          <p:cNvSpPr>
            <a:spLocks noGrp="1"/>
          </p:cNvSpPr>
          <p:nvPr>
            <p:ph type="body" idx="17"/>
          </p:nvPr>
        </p:nvSpPr>
        <p:spPr>
          <a:xfrm>
            <a:off x="6096000" y="2028825"/>
            <a:ext cx="5196417" cy="360000"/>
          </a:xfrm>
          <a:solidFill>
            <a:schemeClr val="bg2"/>
          </a:solidFill>
          <a:ln>
            <a:noFill/>
          </a:ln>
        </p:spPr>
        <p:txBody>
          <a:bodyPr lIns="108000" anchor="ctr">
            <a:noAutofit/>
          </a:bodyPr>
          <a:lstStyle>
            <a:lvl1pPr marL="0" indent="0" algn="l">
              <a:buNone/>
              <a:defRPr sz="1200" b="0">
                <a:solidFill>
                  <a:schemeClr val="tx1"/>
                </a:solidFill>
                <a:latin typeface="Source Sans Pro Semibold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2" name="Textplatzhalter 2"/>
          <p:cNvSpPr>
            <a:spLocks noGrp="1"/>
          </p:cNvSpPr>
          <p:nvPr>
            <p:ph type="body" idx="18" hasCustomPrompt="1"/>
          </p:nvPr>
        </p:nvSpPr>
        <p:spPr>
          <a:xfrm>
            <a:off x="917813" y="6127440"/>
            <a:ext cx="3304939" cy="360000"/>
          </a:xfrm>
          <a:solidFill>
            <a:schemeClr val="accent1"/>
          </a:solidFill>
          <a:ln>
            <a:noFill/>
          </a:ln>
        </p:spPr>
        <p:txBody>
          <a:bodyPr wrap="none" lIns="180000" anchor="ctr">
            <a:noAutofit/>
          </a:bodyPr>
          <a:lstStyle>
            <a:lvl1pPr marL="0" indent="0" algn="l">
              <a:buNone/>
              <a:defRPr sz="1400" b="0" baseline="0">
                <a:solidFill>
                  <a:schemeClr val="bg1"/>
                </a:solidFill>
                <a:latin typeface="Source Sans Pro Semibold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Hinweis</a:t>
            </a:r>
          </a:p>
        </p:txBody>
      </p:sp>
      <p:sp>
        <p:nvSpPr>
          <p:cNvPr id="13" name="Textplatzhalter 2"/>
          <p:cNvSpPr>
            <a:spLocks noGrp="1"/>
          </p:cNvSpPr>
          <p:nvPr>
            <p:ph type="body" idx="19" hasCustomPrompt="1"/>
          </p:nvPr>
        </p:nvSpPr>
        <p:spPr>
          <a:xfrm>
            <a:off x="448733" y="6127440"/>
            <a:ext cx="480000" cy="360000"/>
          </a:xfrm>
          <a:solidFill>
            <a:schemeClr val="tx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600" b="0">
                <a:solidFill>
                  <a:schemeClr val="bg1"/>
                </a:solidFill>
                <a:latin typeface="Source Sans Pro Semibold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97057061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0" name="think-cell Folie" r:id="rId4" imgW="240" imgH="240" progId="TCLayout.ActiveDocument.1">
                  <p:embed/>
                </p:oleObj>
              </mc:Choice>
              <mc:Fallback>
                <p:oleObj name="think-cell Folie" r:id="rId4" imgW="240" imgH="24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89621" y="919195"/>
            <a:ext cx="9696000" cy="82800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Titelmasterformat </a:t>
            </a:r>
            <a:br>
              <a:rPr lang="de-DE" dirty="0"/>
            </a:br>
            <a:r>
              <a:rPr lang="de-DE" dirty="0"/>
              <a:t>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89623" y="1935688"/>
            <a:ext cx="3833128" cy="1611586"/>
          </a:xfrm>
        </p:spPr>
        <p:txBody>
          <a:bodyPr wrap="square">
            <a:spAutoFit/>
          </a:bodyPr>
          <a:lstStyle>
            <a:lvl1pPr marL="0" indent="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sz="1600" baseline="0">
                <a:latin typeface="+mn-lt"/>
              </a:defRPr>
            </a:lvl1pPr>
            <a:lvl2pPr marL="271463" indent="-271463"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>
                <a:latin typeface="+mn-lt"/>
              </a:defRPr>
            </a:lvl2pPr>
            <a:lvl3pPr marL="449263" indent="-177800">
              <a:spcAft>
                <a:spcPts val="600"/>
              </a:spcAft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sz="1600">
                <a:latin typeface="+mn-lt"/>
              </a:defRPr>
            </a:lvl3pPr>
            <a:lvl4pPr marL="627063" indent="-177800">
              <a:spcAft>
                <a:spcPts val="600"/>
              </a:spcAft>
              <a:buClrTx/>
              <a:buFont typeface="Symbol" panose="05050102010706020507" pitchFamily="18" charset="2"/>
              <a:buChar char="-"/>
              <a:defRPr sz="1600">
                <a:latin typeface="+mn-lt"/>
              </a:defRPr>
            </a:lvl4pPr>
            <a:lvl5pPr marL="804863" indent="-177800">
              <a:spcAft>
                <a:spcPts val="600"/>
              </a:spcAft>
              <a:buClrTx/>
              <a:buFont typeface="Symbol" panose="05050102010706020507" pitchFamily="18" charset="2"/>
              <a:buChar char="-"/>
              <a:defRPr sz="1600">
                <a:latin typeface="+mn-lt"/>
              </a:defRPr>
            </a:lvl5pPr>
          </a:lstStyle>
          <a:p>
            <a:pPr lvl="0"/>
            <a:r>
              <a:rPr lang="de-DE" dirty="0"/>
              <a:t>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8448263" y="10004"/>
            <a:ext cx="1140525" cy="257369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master der MVI Group                                                                                                                                                     01.09.2016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930CFF-92E5-45D8-B02D-7D2C24FD84C9}" type="slidenum">
              <a:rPr lang="de-DE" smtClean="0"/>
              <a:t>‹Nr.›</a:t>
            </a:fld>
            <a:endParaRPr lang="de-DE"/>
          </a:p>
        </p:txBody>
      </p:sp>
      <p:sp>
        <p:nvSpPr>
          <p:cNvPr id="18" name="Bildplatzhalter 7"/>
          <p:cNvSpPr>
            <a:spLocks noGrp="1"/>
          </p:cNvSpPr>
          <p:nvPr>
            <p:ph type="pic" sz="quarter" idx="23" hasCustomPrompt="1"/>
          </p:nvPr>
        </p:nvSpPr>
        <p:spPr>
          <a:xfrm>
            <a:off x="5025272" y="2968410"/>
            <a:ext cx="960000" cy="7200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r>
              <a:rPr lang="de-DE"/>
              <a:t>Icon</a:t>
            </a:r>
          </a:p>
          <a:p>
            <a:endParaRPr lang="de-DE"/>
          </a:p>
        </p:txBody>
      </p:sp>
      <p:sp>
        <p:nvSpPr>
          <p:cNvPr id="19" name="Bildplatzhalter 7"/>
          <p:cNvSpPr>
            <a:spLocks noGrp="1"/>
          </p:cNvSpPr>
          <p:nvPr>
            <p:ph type="pic" sz="quarter" idx="24" hasCustomPrompt="1"/>
          </p:nvPr>
        </p:nvSpPr>
        <p:spPr>
          <a:xfrm>
            <a:off x="6389615" y="2968410"/>
            <a:ext cx="960000" cy="7200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r>
              <a:rPr lang="de-DE"/>
              <a:t>Icon</a:t>
            </a:r>
          </a:p>
          <a:p>
            <a:endParaRPr lang="de-DE"/>
          </a:p>
        </p:txBody>
      </p:sp>
      <p:sp>
        <p:nvSpPr>
          <p:cNvPr id="20" name="Bildplatzhalter 7"/>
          <p:cNvSpPr>
            <a:spLocks noGrp="1"/>
          </p:cNvSpPr>
          <p:nvPr>
            <p:ph type="pic" sz="quarter" idx="25" hasCustomPrompt="1"/>
          </p:nvPr>
        </p:nvSpPr>
        <p:spPr>
          <a:xfrm>
            <a:off x="7753957" y="2968410"/>
            <a:ext cx="960000" cy="7200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r>
              <a:rPr lang="de-DE"/>
              <a:t>Icon</a:t>
            </a:r>
          </a:p>
          <a:p>
            <a:endParaRPr lang="de-DE"/>
          </a:p>
        </p:txBody>
      </p:sp>
      <p:sp>
        <p:nvSpPr>
          <p:cNvPr id="21" name="Bildplatzhalter 7"/>
          <p:cNvSpPr>
            <a:spLocks noGrp="1"/>
          </p:cNvSpPr>
          <p:nvPr>
            <p:ph type="pic" sz="quarter" idx="26" hasCustomPrompt="1"/>
          </p:nvPr>
        </p:nvSpPr>
        <p:spPr>
          <a:xfrm>
            <a:off x="9118301" y="2968410"/>
            <a:ext cx="960000" cy="7200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r>
              <a:rPr lang="de-DE"/>
              <a:t>Icon</a:t>
            </a:r>
          </a:p>
          <a:p>
            <a:endParaRPr lang="de-DE"/>
          </a:p>
        </p:txBody>
      </p:sp>
      <p:sp>
        <p:nvSpPr>
          <p:cNvPr id="25" name="Bildplatzhalter 7"/>
          <p:cNvSpPr>
            <a:spLocks noGrp="1"/>
          </p:cNvSpPr>
          <p:nvPr>
            <p:ph type="pic" sz="quarter" idx="30" hasCustomPrompt="1"/>
          </p:nvPr>
        </p:nvSpPr>
        <p:spPr>
          <a:xfrm>
            <a:off x="5025272" y="3907994"/>
            <a:ext cx="960000" cy="7200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r>
              <a:rPr lang="de-DE"/>
              <a:t>Icon</a:t>
            </a:r>
          </a:p>
          <a:p>
            <a:endParaRPr lang="de-DE"/>
          </a:p>
        </p:txBody>
      </p:sp>
      <p:sp>
        <p:nvSpPr>
          <p:cNvPr id="26" name="Bildplatzhalter 7"/>
          <p:cNvSpPr>
            <a:spLocks noGrp="1"/>
          </p:cNvSpPr>
          <p:nvPr>
            <p:ph type="pic" sz="quarter" idx="31" hasCustomPrompt="1"/>
          </p:nvPr>
        </p:nvSpPr>
        <p:spPr>
          <a:xfrm>
            <a:off x="6389615" y="3907994"/>
            <a:ext cx="960000" cy="7200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r>
              <a:rPr lang="de-DE"/>
              <a:t>Icon</a:t>
            </a:r>
          </a:p>
          <a:p>
            <a:endParaRPr lang="de-DE"/>
          </a:p>
        </p:txBody>
      </p:sp>
      <p:sp>
        <p:nvSpPr>
          <p:cNvPr id="27" name="Bildplatzhalter 7"/>
          <p:cNvSpPr>
            <a:spLocks noGrp="1"/>
          </p:cNvSpPr>
          <p:nvPr>
            <p:ph type="pic" sz="quarter" idx="32" hasCustomPrompt="1"/>
          </p:nvPr>
        </p:nvSpPr>
        <p:spPr>
          <a:xfrm>
            <a:off x="7753957" y="3907994"/>
            <a:ext cx="960000" cy="7200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r>
              <a:rPr lang="de-DE"/>
              <a:t>Icon</a:t>
            </a:r>
          </a:p>
          <a:p>
            <a:endParaRPr lang="de-DE"/>
          </a:p>
        </p:txBody>
      </p:sp>
      <p:sp>
        <p:nvSpPr>
          <p:cNvPr id="28" name="Bildplatzhalter 7"/>
          <p:cNvSpPr>
            <a:spLocks noGrp="1"/>
          </p:cNvSpPr>
          <p:nvPr>
            <p:ph type="pic" sz="quarter" idx="33" hasCustomPrompt="1"/>
          </p:nvPr>
        </p:nvSpPr>
        <p:spPr>
          <a:xfrm>
            <a:off x="9118301" y="3907994"/>
            <a:ext cx="960000" cy="7200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r>
              <a:rPr lang="de-DE"/>
              <a:t>Icon</a:t>
            </a:r>
          </a:p>
          <a:p>
            <a:endParaRPr lang="de-DE"/>
          </a:p>
        </p:txBody>
      </p:sp>
      <p:sp>
        <p:nvSpPr>
          <p:cNvPr id="11" name="Bildplatzhalter 7"/>
          <p:cNvSpPr>
            <a:spLocks noGrp="1"/>
          </p:cNvSpPr>
          <p:nvPr>
            <p:ph type="pic" sz="quarter" idx="16" hasCustomPrompt="1"/>
          </p:nvPr>
        </p:nvSpPr>
        <p:spPr>
          <a:xfrm>
            <a:off x="5025272" y="2028825"/>
            <a:ext cx="960000" cy="720000"/>
          </a:xfrm>
        </p:spPr>
        <p:txBody>
          <a:bodyPr>
            <a:noAutofit/>
          </a:bodyPr>
          <a:lstStyle>
            <a:lvl1pPr>
              <a:defRPr sz="1100"/>
            </a:lvl1pPr>
          </a:lstStyle>
          <a:p>
            <a:r>
              <a:rPr lang="de-DE"/>
              <a:t>Icon</a:t>
            </a:r>
          </a:p>
        </p:txBody>
      </p:sp>
      <p:sp>
        <p:nvSpPr>
          <p:cNvPr id="12" name="Bildplatzhalter 7"/>
          <p:cNvSpPr>
            <a:spLocks noGrp="1"/>
          </p:cNvSpPr>
          <p:nvPr>
            <p:ph type="pic" sz="quarter" idx="17" hasCustomPrompt="1"/>
          </p:nvPr>
        </p:nvSpPr>
        <p:spPr>
          <a:xfrm>
            <a:off x="6389615" y="2028825"/>
            <a:ext cx="960000" cy="720000"/>
          </a:xfrm>
        </p:spPr>
        <p:txBody>
          <a:bodyPr>
            <a:noAutofit/>
          </a:bodyPr>
          <a:lstStyle>
            <a:lvl1pPr>
              <a:defRPr sz="1100"/>
            </a:lvl1pPr>
          </a:lstStyle>
          <a:p>
            <a:r>
              <a:rPr lang="de-DE"/>
              <a:t>Icon</a:t>
            </a:r>
          </a:p>
        </p:txBody>
      </p:sp>
      <p:sp>
        <p:nvSpPr>
          <p:cNvPr id="13" name="Bildplatzhalter 7"/>
          <p:cNvSpPr>
            <a:spLocks noGrp="1"/>
          </p:cNvSpPr>
          <p:nvPr>
            <p:ph type="pic" sz="quarter" idx="18" hasCustomPrompt="1"/>
          </p:nvPr>
        </p:nvSpPr>
        <p:spPr>
          <a:xfrm>
            <a:off x="7753957" y="2028825"/>
            <a:ext cx="960000" cy="7200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r>
              <a:rPr lang="de-DE"/>
              <a:t>Icon</a:t>
            </a:r>
          </a:p>
          <a:p>
            <a:endParaRPr lang="de-DE"/>
          </a:p>
        </p:txBody>
      </p:sp>
      <p:sp>
        <p:nvSpPr>
          <p:cNvPr id="14" name="Bildplatzhalter 7"/>
          <p:cNvSpPr>
            <a:spLocks noGrp="1"/>
          </p:cNvSpPr>
          <p:nvPr>
            <p:ph type="pic" sz="quarter" idx="19" hasCustomPrompt="1"/>
          </p:nvPr>
        </p:nvSpPr>
        <p:spPr>
          <a:xfrm>
            <a:off x="9118301" y="2028825"/>
            <a:ext cx="960000" cy="7200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r>
              <a:rPr lang="de-DE"/>
              <a:t>Icon</a:t>
            </a:r>
          </a:p>
          <a:p>
            <a:endParaRPr lang="de-DE"/>
          </a:p>
        </p:txBody>
      </p:sp>
      <p:sp>
        <p:nvSpPr>
          <p:cNvPr id="29" name="Bildplatzhalter 7"/>
          <p:cNvSpPr>
            <a:spLocks noGrp="1"/>
          </p:cNvSpPr>
          <p:nvPr>
            <p:ph type="pic" sz="quarter" idx="34" hasCustomPrompt="1"/>
          </p:nvPr>
        </p:nvSpPr>
        <p:spPr>
          <a:xfrm>
            <a:off x="5025272" y="4847579"/>
            <a:ext cx="960000" cy="7200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r>
              <a:rPr lang="de-DE"/>
              <a:t>Icon</a:t>
            </a:r>
          </a:p>
          <a:p>
            <a:endParaRPr lang="de-DE"/>
          </a:p>
        </p:txBody>
      </p:sp>
      <p:sp>
        <p:nvSpPr>
          <p:cNvPr id="30" name="Bildplatzhalter 7"/>
          <p:cNvSpPr>
            <a:spLocks noGrp="1"/>
          </p:cNvSpPr>
          <p:nvPr>
            <p:ph type="pic" sz="quarter" idx="35" hasCustomPrompt="1"/>
          </p:nvPr>
        </p:nvSpPr>
        <p:spPr>
          <a:xfrm>
            <a:off x="6389615" y="4847579"/>
            <a:ext cx="960000" cy="7200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r>
              <a:rPr lang="de-DE"/>
              <a:t>Icon</a:t>
            </a:r>
          </a:p>
          <a:p>
            <a:endParaRPr lang="de-DE"/>
          </a:p>
        </p:txBody>
      </p:sp>
      <p:sp>
        <p:nvSpPr>
          <p:cNvPr id="31" name="Bildplatzhalter 7"/>
          <p:cNvSpPr>
            <a:spLocks noGrp="1"/>
          </p:cNvSpPr>
          <p:nvPr>
            <p:ph type="pic" sz="quarter" idx="36" hasCustomPrompt="1"/>
          </p:nvPr>
        </p:nvSpPr>
        <p:spPr>
          <a:xfrm>
            <a:off x="7753957" y="4847579"/>
            <a:ext cx="960000" cy="7200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r>
              <a:rPr lang="de-DE"/>
              <a:t>Icon</a:t>
            </a:r>
          </a:p>
          <a:p>
            <a:endParaRPr lang="de-DE"/>
          </a:p>
        </p:txBody>
      </p:sp>
      <p:sp>
        <p:nvSpPr>
          <p:cNvPr id="32" name="Bildplatzhalter 7"/>
          <p:cNvSpPr>
            <a:spLocks noGrp="1"/>
          </p:cNvSpPr>
          <p:nvPr>
            <p:ph type="pic" sz="quarter" idx="37" hasCustomPrompt="1"/>
          </p:nvPr>
        </p:nvSpPr>
        <p:spPr>
          <a:xfrm>
            <a:off x="9118301" y="4847579"/>
            <a:ext cx="960000" cy="7200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r>
              <a:rPr lang="de-DE"/>
              <a:t>Icon</a:t>
            </a:r>
          </a:p>
          <a:p>
            <a:endParaRPr lang="de-DE"/>
          </a:p>
        </p:txBody>
      </p:sp>
      <p:sp>
        <p:nvSpPr>
          <p:cNvPr id="33" name="Bildplatzhalter 7"/>
          <p:cNvSpPr>
            <a:spLocks noGrp="1"/>
          </p:cNvSpPr>
          <p:nvPr>
            <p:ph type="pic" sz="quarter" idx="38" hasCustomPrompt="1"/>
          </p:nvPr>
        </p:nvSpPr>
        <p:spPr>
          <a:xfrm>
            <a:off x="5025272" y="5787163"/>
            <a:ext cx="960000" cy="7200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r>
              <a:rPr lang="de-DE"/>
              <a:t>Icon</a:t>
            </a:r>
          </a:p>
          <a:p>
            <a:endParaRPr lang="de-DE"/>
          </a:p>
        </p:txBody>
      </p:sp>
      <p:sp>
        <p:nvSpPr>
          <p:cNvPr id="34" name="Bildplatzhalter 7"/>
          <p:cNvSpPr>
            <a:spLocks noGrp="1"/>
          </p:cNvSpPr>
          <p:nvPr>
            <p:ph type="pic" sz="quarter" idx="39" hasCustomPrompt="1"/>
          </p:nvPr>
        </p:nvSpPr>
        <p:spPr>
          <a:xfrm>
            <a:off x="6389615" y="5787163"/>
            <a:ext cx="960000" cy="7200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r>
              <a:rPr lang="de-DE"/>
              <a:t>Icon</a:t>
            </a:r>
          </a:p>
          <a:p>
            <a:endParaRPr lang="de-DE"/>
          </a:p>
        </p:txBody>
      </p:sp>
      <p:sp>
        <p:nvSpPr>
          <p:cNvPr id="35" name="Bildplatzhalter 7"/>
          <p:cNvSpPr>
            <a:spLocks noGrp="1"/>
          </p:cNvSpPr>
          <p:nvPr>
            <p:ph type="pic" sz="quarter" idx="40" hasCustomPrompt="1"/>
          </p:nvPr>
        </p:nvSpPr>
        <p:spPr>
          <a:xfrm>
            <a:off x="7753957" y="5787163"/>
            <a:ext cx="960000" cy="7200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r>
              <a:rPr lang="de-DE"/>
              <a:t>Icon</a:t>
            </a:r>
          </a:p>
          <a:p>
            <a:endParaRPr lang="de-DE"/>
          </a:p>
        </p:txBody>
      </p:sp>
      <p:sp>
        <p:nvSpPr>
          <p:cNvPr id="36" name="Bildplatzhalter 7"/>
          <p:cNvSpPr>
            <a:spLocks noGrp="1"/>
          </p:cNvSpPr>
          <p:nvPr>
            <p:ph type="pic" sz="quarter" idx="41" hasCustomPrompt="1"/>
          </p:nvPr>
        </p:nvSpPr>
        <p:spPr>
          <a:xfrm>
            <a:off x="9118301" y="5787163"/>
            <a:ext cx="960000" cy="7200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r>
              <a:rPr lang="de-DE"/>
              <a:t>Icon</a:t>
            </a:r>
          </a:p>
          <a:p>
            <a:endParaRPr lang="de-DE"/>
          </a:p>
        </p:txBody>
      </p:sp>
      <p:sp>
        <p:nvSpPr>
          <p:cNvPr id="37" name="Textplatzhalter 2"/>
          <p:cNvSpPr>
            <a:spLocks noGrp="1"/>
          </p:cNvSpPr>
          <p:nvPr>
            <p:ph type="body" idx="42" hasCustomPrompt="1"/>
          </p:nvPr>
        </p:nvSpPr>
        <p:spPr>
          <a:xfrm>
            <a:off x="917813" y="6127440"/>
            <a:ext cx="3304939" cy="360000"/>
          </a:xfrm>
          <a:solidFill>
            <a:schemeClr val="accent1"/>
          </a:solidFill>
          <a:ln>
            <a:noFill/>
          </a:ln>
        </p:spPr>
        <p:txBody>
          <a:bodyPr wrap="none" lIns="180000" anchor="ctr">
            <a:noAutofit/>
          </a:bodyPr>
          <a:lstStyle>
            <a:lvl1pPr marL="0" indent="0" algn="l">
              <a:buNone/>
              <a:defRPr sz="1400" b="0" baseline="0">
                <a:solidFill>
                  <a:schemeClr val="bg1"/>
                </a:solidFill>
                <a:latin typeface="Source Sans Pro Semibold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Hinweis</a:t>
            </a:r>
          </a:p>
        </p:txBody>
      </p:sp>
      <p:sp>
        <p:nvSpPr>
          <p:cNvPr id="38" name="Textplatzhalter 2"/>
          <p:cNvSpPr>
            <a:spLocks noGrp="1"/>
          </p:cNvSpPr>
          <p:nvPr>
            <p:ph type="body" idx="43" hasCustomPrompt="1"/>
          </p:nvPr>
        </p:nvSpPr>
        <p:spPr>
          <a:xfrm>
            <a:off x="448733" y="6127440"/>
            <a:ext cx="480000" cy="360000"/>
          </a:xfrm>
          <a:solidFill>
            <a:schemeClr val="tx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600" b="0">
                <a:solidFill>
                  <a:schemeClr val="bg1"/>
                </a:solidFill>
                <a:latin typeface="Source Sans Pro Semibold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81592085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4" name="think-cell Folie" r:id="rId4" imgW="240" imgH="240" progId="TCLayout.ActiveDocument.1">
                  <p:embed/>
                </p:oleObj>
              </mc:Choice>
              <mc:Fallback>
                <p:oleObj name="think-cell Folie" r:id="rId4" imgW="240" imgH="240" progId="TCLayout.ActiveDocument.1">
                  <p:embed/>
                  <p:pic>
                    <p:nvPicPr>
                      <p:cNvPr id="10" name="Objekt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89621" y="919195"/>
            <a:ext cx="9696000" cy="82800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Titelmasterformat </a:t>
            </a:r>
            <a:br>
              <a:rPr lang="de-DE" dirty="0"/>
            </a:br>
            <a:r>
              <a:rPr lang="de-DE" dirty="0"/>
              <a:t>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89623" y="1935688"/>
            <a:ext cx="3833128" cy="1611586"/>
          </a:xfrm>
        </p:spPr>
        <p:txBody>
          <a:bodyPr wrap="square">
            <a:spAutoFit/>
          </a:bodyPr>
          <a:lstStyle>
            <a:lvl1pPr marL="0" indent="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sz="1600" baseline="0">
                <a:latin typeface="+mn-lt"/>
              </a:defRPr>
            </a:lvl1pPr>
            <a:lvl2pPr marL="271463" indent="-271463"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>
                <a:latin typeface="+mn-lt"/>
              </a:defRPr>
            </a:lvl2pPr>
            <a:lvl3pPr marL="449263" indent="-177800">
              <a:spcAft>
                <a:spcPts val="600"/>
              </a:spcAft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sz="1600">
                <a:latin typeface="+mn-lt"/>
              </a:defRPr>
            </a:lvl3pPr>
            <a:lvl4pPr marL="627063" indent="-177800">
              <a:spcAft>
                <a:spcPts val="600"/>
              </a:spcAft>
              <a:buClrTx/>
              <a:buFont typeface="Symbol" panose="05050102010706020507" pitchFamily="18" charset="2"/>
              <a:buChar char="-"/>
              <a:defRPr sz="1600">
                <a:latin typeface="+mn-lt"/>
              </a:defRPr>
            </a:lvl4pPr>
            <a:lvl5pPr marL="804863" indent="-177800">
              <a:spcAft>
                <a:spcPts val="600"/>
              </a:spcAft>
              <a:buClrTx/>
              <a:buFont typeface="Symbol" panose="05050102010706020507" pitchFamily="18" charset="2"/>
              <a:buChar char="-"/>
              <a:defRPr sz="1600">
                <a:latin typeface="+mn-lt"/>
              </a:defRPr>
            </a:lvl5pPr>
          </a:lstStyle>
          <a:p>
            <a:pPr lvl="0"/>
            <a:r>
              <a:rPr lang="de-DE" dirty="0"/>
              <a:t>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8448263" y="10004"/>
            <a:ext cx="1140525" cy="257369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master der MVI Group                                                                                                                                                     01.09.2016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930CFF-92E5-45D8-B02D-7D2C24FD84C9}" type="slidenum">
              <a:rPr lang="de-DE" smtClean="0"/>
              <a:t>‹Nr.›</a:t>
            </a:fld>
            <a:endParaRPr lang="de-DE"/>
          </a:p>
        </p:txBody>
      </p:sp>
      <p:sp>
        <p:nvSpPr>
          <p:cNvPr id="7" name="Bildplatzhalter 7"/>
          <p:cNvSpPr>
            <a:spLocks noGrp="1"/>
          </p:cNvSpPr>
          <p:nvPr>
            <p:ph type="pic" sz="quarter" idx="14"/>
          </p:nvPr>
        </p:nvSpPr>
        <p:spPr>
          <a:xfrm>
            <a:off x="8861777" y="2028825"/>
            <a:ext cx="3330223" cy="1594908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5"/>
          </p:nvPr>
        </p:nvSpPr>
        <p:spPr>
          <a:xfrm>
            <a:off x="5937957" y="2809082"/>
            <a:ext cx="6254044" cy="2128308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9" name="Bildplatzhalter 7"/>
          <p:cNvSpPr>
            <a:spLocks noGrp="1"/>
          </p:cNvSpPr>
          <p:nvPr>
            <p:ph type="pic" sz="quarter" idx="13"/>
          </p:nvPr>
        </p:nvSpPr>
        <p:spPr>
          <a:xfrm>
            <a:off x="4222751" y="4461933"/>
            <a:ext cx="3871383" cy="239606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272677090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intergrund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8" name="think-cell Folie" r:id="rId4" imgW="240" imgH="240" progId="TCLayout.ActiveDocument.1">
                  <p:embed/>
                </p:oleObj>
              </mc:Choice>
              <mc:Fallback>
                <p:oleObj name="think-cell Folie" r:id="rId4" imgW="240" imgH="24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</p:spPr>
        <p:txBody>
          <a:bodyPr anchor="t">
            <a:noAutofit/>
          </a:bodyPr>
          <a:lstStyle>
            <a:lvl1pPr marL="0" indent="0">
              <a:buFontTx/>
              <a:buNone/>
              <a:defRPr sz="14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41884" y="1888176"/>
            <a:ext cx="4800000" cy="3600000"/>
          </a:xfrm>
          <a:solidFill>
            <a:schemeClr val="bg1"/>
          </a:solidFill>
        </p:spPr>
        <p:txBody>
          <a:bodyPr wrap="square" lIns="216000" tIns="324000" rIns="108000" bIns="216000">
            <a:noAutofit/>
          </a:bodyPr>
          <a:lstStyle>
            <a:lvl1pPr marL="0" indent="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sz="1600" baseline="0">
                <a:latin typeface="+mn-lt"/>
              </a:defRPr>
            </a:lvl1pPr>
            <a:lvl2pPr marL="271463" indent="-271463"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>
                <a:latin typeface="+mn-lt"/>
              </a:defRPr>
            </a:lvl2pPr>
            <a:lvl3pPr marL="355600" indent="-177800">
              <a:spcAft>
                <a:spcPts val="600"/>
              </a:spcAft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sz="1600">
                <a:latin typeface="+mn-lt"/>
              </a:defRPr>
            </a:lvl3pPr>
            <a:lvl4pPr marL="539750" indent="-184150">
              <a:spcAft>
                <a:spcPts val="600"/>
              </a:spcAft>
              <a:buClrTx/>
              <a:buFont typeface="Symbol" panose="05050102010706020507" pitchFamily="18" charset="2"/>
              <a:buChar char="-"/>
              <a:defRPr sz="1600">
                <a:latin typeface="+mn-lt"/>
              </a:defRPr>
            </a:lvl4pPr>
            <a:lvl5pPr marL="719138" indent="-179388">
              <a:spcAft>
                <a:spcPts val="600"/>
              </a:spcAft>
              <a:buClrTx/>
              <a:buFont typeface="Symbol" panose="05050102010706020507" pitchFamily="18" charset="2"/>
              <a:buChar char="-"/>
              <a:defRPr sz="1600">
                <a:latin typeface="+mn-lt"/>
              </a:defRPr>
            </a:lvl5pPr>
          </a:lstStyle>
          <a:p>
            <a:pPr lvl="0"/>
            <a:r>
              <a:rPr lang="de-DE" dirty="0" err="1"/>
              <a:t>Weisses</a:t>
            </a:r>
            <a:r>
              <a:rPr lang="de-DE" dirty="0"/>
              <a:t> Textfeld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2" name="Inhaltsplatzhalter 2"/>
          <p:cNvSpPr>
            <a:spLocks noGrp="1"/>
          </p:cNvSpPr>
          <p:nvPr>
            <p:ph idx="16" hasCustomPrompt="1"/>
          </p:nvPr>
        </p:nvSpPr>
        <p:spPr>
          <a:xfrm>
            <a:off x="6474561" y="1888176"/>
            <a:ext cx="4800000" cy="3600000"/>
          </a:xfrm>
          <a:solidFill>
            <a:srgbClr val="FFFFFF">
              <a:alpha val="80000"/>
            </a:srgbClr>
          </a:solidFill>
        </p:spPr>
        <p:txBody>
          <a:bodyPr wrap="square" lIns="216000" tIns="324000" rIns="108000" bIns="216000">
            <a:noAutofit/>
          </a:bodyPr>
          <a:lstStyle>
            <a:lvl1pPr marL="0" indent="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sz="1600" baseline="0">
                <a:latin typeface="+mn-lt"/>
              </a:defRPr>
            </a:lvl1pPr>
            <a:lvl2pPr marL="271463" indent="-271463"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>
                <a:latin typeface="+mn-lt"/>
              </a:defRPr>
            </a:lvl2pPr>
            <a:lvl3pPr marL="355600" indent="-177800">
              <a:spcAft>
                <a:spcPts val="600"/>
              </a:spcAft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sz="1600">
                <a:latin typeface="+mn-lt"/>
              </a:defRPr>
            </a:lvl3pPr>
            <a:lvl4pPr marL="539750" indent="-184150">
              <a:spcAft>
                <a:spcPts val="600"/>
              </a:spcAft>
              <a:buClrTx/>
              <a:buFont typeface="Symbol" panose="05050102010706020507" pitchFamily="18" charset="2"/>
              <a:buChar char="-"/>
              <a:defRPr sz="1600">
                <a:latin typeface="+mn-lt"/>
              </a:defRPr>
            </a:lvl4pPr>
            <a:lvl5pPr marL="719138" indent="-179388">
              <a:spcAft>
                <a:spcPts val="600"/>
              </a:spcAft>
              <a:buClrTx/>
              <a:buFont typeface="Symbol" panose="05050102010706020507" pitchFamily="18" charset="2"/>
              <a:buChar char="-"/>
              <a:defRPr sz="1600">
                <a:latin typeface="+mn-lt"/>
              </a:defRPr>
            </a:lvl5pPr>
          </a:lstStyle>
          <a:p>
            <a:pPr lvl="0"/>
            <a:r>
              <a:rPr lang="de-DE" dirty="0"/>
              <a:t>Textfeld 20% transparent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74488882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think-cell Folie" r:id="rId4" imgW="240" imgH="240" progId="TCLayout.ActiveDocument.1">
                  <p:embed/>
                </p:oleObj>
              </mc:Choice>
              <mc:Fallback>
                <p:oleObj name="think-cell Folie" r:id="rId4" imgW="240" imgH="24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89621" y="919195"/>
            <a:ext cx="9696000" cy="82800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Titelmasterformat </a:t>
            </a:r>
            <a:br>
              <a:rPr lang="de-DE" dirty="0"/>
            </a:br>
            <a:r>
              <a:rPr lang="de-DE" dirty="0"/>
              <a:t>durch Klicken bearbeiten</a:t>
            </a:r>
          </a:p>
        </p:txBody>
      </p:sp>
      <p:sp>
        <p:nvSpPr>
          <p:cNvPr id="10" name="Textfeld 9"/>
          <p:cNvSpPr txBox="1"/>
          <p:nvPr userDrawn="1"/>
        </p:nvSpPr>
        <p:spPr>
          <a:xfrm>
            <a:off x="41311" y="40822"/>
            <a:ext cx="3659832" cy="230832"/>
          </a:xfrm>
          <a:prstGeom prst="rect">
            <a:avLst/>
          </a:prstGeom>
          <a:ln w="3175">
            <a:noFill/>
          </a:ln>
        </p:spPr>
        <p:txBody>
          <a:bodyPr wrap="square" rtlCol="0">
            <a:spAutoFit/>
          </a:bodyPr>
          <a:lstStyle/>
          <a:p>
            <a:r>
              <a:rPr lang="de-DE" sz="900" dirty="0"/>
              <a:t>MVI Group</a:t>
            </a:r>
          </a:p>
        </p:txBody>
      </p:sp>
      <p:sp>
        <p:nvSpPr>
          <p:cNvPr id="11" name="Textfeld 10"/>
          <p:cNvSpPr txBox="1"/>
          <p:nvPr userDrawn="1"/>
        </p:nvSpPr>
        <p:spPr>
          <a:xfrm>
            <a:off x="8588828" y="40822"/>
            <a:ext cx="968829" cy="230832"/>
          </a:xfrm>
          <a:prstGeom prst="rect">
            <a:avLst/>
          </a:prstGeom>
          <a:ln w="3175">
            <a:noFill/>
          </a:ln>
        </p:spPr>
        <p:txBody>
          <a:bodyPr wrap="square" rtlCol="0">
            <a:spAutoFit/>
          </a:bodyPr>
          <a:lstStyle/>
          <a:p>
            <a:fld id="{134F439E-D568-4C77-B006-BD36F09424C4}" type="datetime1">
              <a:rPr lang="de-DE" sz="900" smtClean="0"/>
              <a:t>03.12.2019</a:t>
            </a:fld>
            <a:endParaRPr lang="de-DE" sz="900" dirty="0"/>
          </a:p>
        </p:txBody>
      </p:sp>
      <p:sp>
        <p:nvSpPr>
          <p:cNvPr id="12" name="Textfeld 11"/>
          <p:cNvSpPr txBox="1"/>
          <p:nvPr userDrawn="1"/>
        </p:nvSpPr>
        <p:spPr>
          <a:xfrm>
            <a:off x="9608814" y="40822"/>
            <a:ext cx="634644" cy="230832"/>
          </a:xfrm>
          <a:prstGeom prst="rect">
            <a:avLst/>
          </a:prstGeom>
          <a:ln w="3175">
            <a:noFill/>
          </a:ln>
        </p:spPr>
        <p:txBody>
          <a:bodyPr wrap="square" rtlCol="0">
            <a:spAutoFit/>
          </a:bodyPr>
          <a:lstStyle/>
          <a:p>
            <a:fld id="{F734EA8D-3A35-495A-9C1B-74C8B8C64402}" type="slidenum">
              <a:rPr lang="de-DE" sz="900" smtClean="0"/>
              <a:t>‹Nr.›</a:t>
            </a:fld>
            <a:endParaRPr lang="de-DE" sz="900" dirty="0"/>
          </a:p>
        </p:txBody>
      </p:sp>
    </p:spTree>
    <p:extLst>
      <p:ext uri="{BB962C8B-B14F-4D97-AF65-F5344CB8AC3E}">
        <p14:creationId xmlns:p14="http://schemas.microsoft.com/office/powerpoint/2010/main" val="255220425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agw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2" name="think-cell Folie" r:id="rId4" imgW="240" imgH="240" progId="TCLayout.ActiveDocument.1">
                  <p:embed/>
                </p:oleObj>
              </mc:Choice>
              <mc:Fallback>
                <p:oleObj name="think-cell Folie" r:id="rId4" imgW="240" imgH="24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89621" y="919196"/>
            <a:ext cx="9696000" cy="432000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89623" y="2831565"/>
            <a:ext cx="9696000" cy="1611586"/>
          </a:xfrm>
        </p:spPr>
        <p:txBody>
          <a:bodyPr>
            <a:spAutoFit/>
          </a:bodyPr>
          <a:lstStyle>
            <a:lvl1pPr marL="0" indent="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sz="1600" baseline="0">
                <a:latin typeface="+mn-lt"/>
              </a:defRPr>
            </a:lvl1pPr>
            <a:lvl2pPr marL="271463" indent="-271463"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>
                <a:latin typeface="+mn-lt"/>
              </a:defRPr>
            </a:lvl2pPr>
            <a:lvl3pPr marL="449263" indent="-177800">
              <a:spcAft>
                <a:spcPts val="600"/>
              </a:spcAft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sz="1600">
                <a:latin typeface="+mn-lt"/>
              </a:defRPr>
            </a:lvl3pPr>
            <a:lvl4pPr marL="627063" indent="-177800">
              <a:spcAft>
                <a:spcPts val="600"/>
              </a:spcAft>
              <a:buClrTx/>
              <a:buFont typeface="Symbol" panose="05050102010706020507" pitchFamily="18" charset="2"/>
              <a:buChar char="-"/>
              <a:defRPr sz="1600">
                <a:latin typeface="+mn-lt"/>
              </a:defRPr>
            </a:lvl4pPr>
            <a:lvl5pPr marL="804863" indent="-177800">
              <a:spcAft>
                <a:spcPts val="600"/>
              </a:spcAft>
              <a:buClrTx/>
              <a:buFont typeface="Symbol" panose="05050102010706020507" pitchFamily="18" charset="2"/>
              <a:buChar char="-"/>
              <a:defRPr sz="1600">
                <a:latin typeface="+mn-lt"/>
              </a:defRPr>
            </a:lvl5pPr>
          </a:lstStyle>
          <a:p>
            <a:pPr lvl="0"/>
            <a:r>
              <a:rPr lang="de-DE" dirty="0"/>
              <a:t>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8448263" y="10004"/>
            <a:ext cx="1140525" cy="257369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master der MVI Group                                                                                                                                                     01.09.2016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930CFF-92E5-45D8-B02D-7D2C24FD84C9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Textplatzhalter 2"/>
          <p:cNvSpPr>
            <a:spLocks noGrp="1"/>
          </p:cNvSpPr>
          <p:nvPr>
            <p:ph type="body" idx="13" hasCustomPrompt="1"/>
          </p:nvPr>
        </p:nvSpPr>
        <p:spPr>
          <a:xfrm>
            <a:off x="389621" y="1839053"/>
            <a:ext cx="9696000" cy="903700"/>
          </a:xfrm>
        </p:spPr>
        <p:txBody>
          <a:bodyPr anchor="t"/>
          <a:lstStyle>
            <a:lvl1pPr marL="0" indent="0">
              <a:buNone/>
              <a:defRPr sz="5400" b="0">
                <a:latin typeface="Source Sans Pro Semibold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Schlagwort</a:t>
            </a:r>
          </a:p>
        </p:txBody>
      </p:sp>
      <p:sp>
        <p:nvSpPr>
          <p:cNvPr id="9" name="Textplatzhalter 2"/>
          <p:cNvSpPr>
            <a:spLocks noGrp="1"/>
          </p:cNvSpPr>
          <p:nvPr>
            <p:ph type="body" idx="17" hasCustomPrompt="1"/>
          </p:nvPr>
        </p:nvSpPr>
        <p:spPr>
          <a:xfrm>
            <a:off x="917813" y="6127440"/>
            <a:ext cx="5178188" cy="360000"/>
          </a:xfrm>
          <a:solidFill>
            <a:schemeClr val="accent1"/>
          </a:solidFill>
          <a:ln>
            <a:noFill/>
          </a:ln>
        </p:spPr>
        <p:txBody>
          <a:bodyPr wrap="none" lIns="180000" anchor="ctr">
            <a:noAutofit/>
          </a:bodyPr>
          <a:lstStyle>
            <a:lvl1pPr marL="0" indent="0" algn="l">
              <a:buNone/>
              <a:defRPr sz="1400" b="0" baseline="0">
                <a:solidFill>
                  <a:schemeClr val="bg1"/>
                </a:solidFill>
                <a:latin typeface="Source Sans Pro Semibold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Hinweis</a:t>
            </a:r>
          </a:p>
        </p:txBody>
      </p:sp>
      <p:sp>
        <p:nvSpPr>
          <p:cNvPr id="10" name="Textplatzhalter 2"/>
          <p:cNvSpPr>
            <a:spLocks noGrp="1"/>
          </p:cNvSpPr>
          <p:nvPr>
            <p:ph type="body" idx="19" hasCustomPrompt="1"/>
          </p:nvPr>
        </p:nvSpPr>
        <p:spPr>
          <a:xfrm>
            <a:off x="448733" y="6127440"/>
            <a:ext cx="480000" cy="360000"/>
          </a:xfrm>
          <a:solidFill>
            <a:schemeClr val="tx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600" b="0">
                <a:solidFill>
                  <a:schemeClr val="bg1"/>
                </a:solidFill>
                <a:latin typeface="Source Sans Pro Semibold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3444719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think-cell Folie" r:id="rId4" imgW="240" imgH="240" progId="TCLayout.ActiveDocument.1">
                  <p:embed/>
                </p:oleObj>
              </mc:Choice>
              <mc:Fallback>
                <p:oleObj name="think-cell Folie" r:id="rId4" imgW="240" imgH="24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Inhaltsplatzhalter 2"/>
          <p:cNvSpPr>
            <a:spLocks noGrp="1"/>
          </p:cNvSpPr>
          <p:nvPr>
            <p:ph idx="13" hasCustomPrompt="1"/>
          </p:nvPr>
        </p:nvSpPr>
        <p:spPr>
          <a:xfrm>
            <a:off x="389623" y="1935688"/>
            <a:ext cx="10909144" cy="4486732"/>
          </a:xfrm>
        </p:spPr>
        <p:txBody>
          <a:bodyPr wrap="square">
            <a:spAutoFit/>
          </a:bodyPr>
          <a:lstStyle>
            <a:lvl1pPr marL="0" indent="0"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None/>
              <a:defRPr sz="1200" baseline="0">
                <a:latin typeface="+mn-lt"/>
              </a:defRPr>
            </a:lvl1pPr>
            <a:lvl2pPr marL="203597" indent="-203597">
              <a:spcAft>
                <a:spcPts val="45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latin typeface="+mn-lt"/>
              </a:defRPr>
            </a:lvl2pPr>
            <a:lvl3pPr marL="336947" indent="-133350">
              <a:spcAft>
                <a:spcPts val="450"/>
              </a:spcAft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sz="1200">
                <a:latin typeface="+mn-lt"/>
              </a:defRPr>
            </a:lvl3pPr>
            <a:lvl4pPr marL="470297" indent="-133350">
              <a:spcAft>
                <a:spcPts val="450"/>
              </a:spcAft>
              <a:buClrTx/>
              <a:buFont typeface="Symbol" panose="05050102010706020507" pitchFamily="18" charset="2"/>
              <a:buChar char="-"/>
              <a:defRPr sz="1200">
                <a:latin typeface="+mn-lt"/>
              </a:defRPr>
            </a:lvl4pPr>
            <a:lvl5pPr marL="603647" indent="-133350">
              <a:spcAft>
                <a:spcPts val="450"/>
              </a:spcAft>
              <a:buClrTx/>
              <a:buFont typeface="Symbol" panose="05050102010706020507" pitchFamily="18" charset="2"/>
              <a:buChar char="-"/>
              <a:defRPr sz="1200">
                <a:latin typeface="+mn-lt"/>
              </a:defRPr>
            </a:lvl5pPr>
          </a:lstStyle>
          <a:p>
            <a:pPr lvl="0"/>
            <a:r>
              <a:rPr lang="de-DE" dirty="0"/>
              <a:t>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4"/>
            <a:endParaRPr lang="de-DE"/>
          </a:p>
          <a:p>
            <a:pPr lvl="4"/>
            <a:endParaRPr lang="de-DE"/>
          </a:p>
          <a:p>
            <a:pPr lvl="4"/>
            <a:endParaRPr lang="de-DE"/>
          </a:p>
          <a:p>
            <a:pPr lvl="4"/>
            <a:endParaRPr lang="de-DE"/>
          </a:p>
          <a:p>
            <a:pPr lvl="4"/>
            <a:endParaRPr lang="de-DE"/>
          </a:p>
          <a:p>
            <a:pPr lvl="4"/>
            <a:endParaRPr lang="de-DE"/>
          </a:p>
          <a:p>
            <a:pPr lvl="4"/>
            <a:endParaRPr lang="de-DE"/>
          </a:p>
          <a:p>
            <a:pPr lvl="4"/>
            <a:endParaRPr lang="de-DE"/>
          </a:p>
          <a:p>
            <a:pPr lvl="4"/>
            <a:endParaRPr lang="de-DE"/>
          </a:p>
          <a:p>
            <a:pPr lvl="4"/>
            <a:endParaRPr lang="de-DE"/>
          </a:p>
          <a:p>
            <a:pPr lvl="4"/>
            <a:endParaRPr lang="de-DE"/>
          </a:p>
          <a:p>
            <a:pPr lvl="4"/>
            <a:endParaRPr lang="de-DE"/>
          </a:p>
          <a:p>
            <a:pPr lvl="4"/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89621" y="919195"/>
            <a:ext cx="9696000" cy="82800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Titelmasterformat </a:t>
            </a:r>
            <a:br>
              <a:rPr lang="de-DE" dirty="0"/>
            </a:br>
            <a:r>
              <a:rPr lang="de-DE" dirty="0"/>
              <a:t>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8448264" y="10006"/>
            <a:ext cx="1140525" cy="257369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master der MVI Group                                                                                                                                                     01.09.2016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930CFF-92E5-45D8-B02D-7D2C24FD84C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56950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Hinwe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" name="think-cell Folie" r:id="rId4" imgW="240" imgH="240" progId="TCLayout.ActiveDocument.1">
                  <p:embed/>
                </p:oleObj>
              </mc:Choice>
              <mc:Fallback>
                <p:oleObj name="think-cell Folie" r:id="rId4" imgW="240" imgH="24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89621" y="919195"/>
            <a:ext cx="9696000" cy="82800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Titelmasterformat </a:t>
            </a:r>
            <a:br>
              <a:rPr lang="de-DE" dirty="0"/>
            </a:br>
            <a:r>
              <a:rPr lang="de-DE" dirty="0"/>
              <a:t>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89623" y="1935689"/>
            <a:ext cx="9696000" cy="1252513"/>
          </a:xfrm>
        </p:spPr>
        <p:txBody>
          <a:bodyPr>
            <a:spAutoFit/>
          </a:bodyPr>
          <a:lstStyle>
            <a:lvl1pPr marL="0" indent="0"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None/>
              <a:defRPr sz="1200" baseline="0">
                <a:latin typeface="+mn-lt"/>
              </a:defRPr>
            </a:lvl1pPr>
            <a:lvl2pPr marL="203597" indent="-203597">
              <a:spcAft>
                <a:spcPts val="45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latin typeface="+mn-lt"/>
              </a:defRPr>
            </a:lvl2pPr>
            <a:lvl3pPr marL="336947" indent="-133350">
              <a:spcAft>
                <a:spcPts val="450"/>
              </a:spcAft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sz="1200">
                <a:latin typeface="+mn-lt"/>
              </a:defRPr>
            </a:lvl3pPr>
            <a:lvl4pPr marL="470297" indent="-133350">
              <a:spcAft>
                <a:spcPts val="450"/>
              </a:spcAft>
              <a:buClrTx/>
              <a:buFont typeface="Symbol" panose="05050102010706020507" pitchFamily="18" charset="2"/>
              <a:buChar char="-"/>
              <a:defRPr sz="1200">
                <a:latin typeface="+mn-lt"/>
              </a:defRPr>
            </a:lvl4pPr>
            <a:lvl5pPr marL="603647" indent="-133350">
              <a:spcAft>
                <a:spcPts val="450"/>
              </a:spcAft>
              <a:buClrTx/>
              <a:buFont typeface="Symbol" panose="05050102010706020507" pitchFamily="18" charset="2"/>
              <a:buChar char="-"/>
              <a:defRPr sz="1200">
                <a:latin typeface="+mn-lt"/>
              </a:defRPr>
            </a:lvl5pPr>
          </a:lstStyle>
          <a:p>
            <a:pPr lvl="0"/>
            <a:r>
              <a:rPr lang="de-DE" dirty="0"/>
              <a:t>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8448264" y="10006"/>
            <a:ext cx="1140525" cy="257369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master der MVI Group                                                                                                                                                     01.09.2016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930CFF-92E5-45D8-B02D-7D2C24FD84C9}" type="slidenum">
              <a:rPr lang="de-DE" smtClean="0"/>
              <a:t>‹Nr.›</a:t>
            </a:fld>
            <a:endParaRPr lang="de-DE"/>
          </a:p>
        </p:txBody>
      </p:sp>
      <p:sp>
        <p:nvSpPr>
          <p:cNvPr id="7" name="Textplatzhalter 2"/>
          <p:cNvSpPr>
            <a:spLocks noGrp="1"/>
          </p:cNvSpPr>
          <p:nvPr>
            <p:ph type="body" idx="17" hasCustomPrompt="1"/>
          </p:nvPr>
        </p:nvSpPr>
        <p:spPr>
          <a:xfrm>
            <a:off x="917814" y="6127440"/>
            <a:ext cx="5178188" cy="360000"/>
          </a:xfrm>
          <a:solidFill>
            <a:schemeClr val="accent1"/>
          </a:solidFill>
          <a:ln>
            <a:noFill/>
          </a:ln>
        </p:spPr>
        <p:txBody>
          <a:bodyPr wrap="none" lIns="180000" anchor="ctr">
            <a:noAutofit/>
          </a:bodyPr>
          <a:lstStyle>
            <a:lvl1pPr marL="0" indent="0" algn="l">
              <a:buNone/>
              <a:defRPr sz="1050" b="0" baseline="0">
                <a:solidFill>
                  <a:schemeClr val="bg1"/>
                </a:solidFill>
                <a:latin typeface="Source Sans Pro Semibold" pitchFamily="34" charset="0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 dirty="0"/>
              <a:t>Hinweis</a:t>
            </a:r>
          </a:p>
        </p:txBody>
      </p:sp>
      <p:sp>
        <p:nvSpPr>
          <p:cNvPr id="14" name="Textplatzhalter 2"/>
          <p:cNvSpPr>
            <a:spLocks noGrp="1"/>
          </p:cNvSpPr>
          <p:nvPr>
            <p:ph type="body" idx="19" hasCustomPrompt="1"/>
          </p:nvPr>
        </p:nvSpPr>
        <p:spPr>
          <a:xfrm>
            <a:off x="448733" y="6127440"/>
            <a:ext cx="480000" cy="360000"/>
          </a:xfrm>
          <a:solidFill>
            <a:schemeClr val="tx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200" b="0">
                <a:solidFill>
                  <a:schemeClr val="bg1"/>
                </a:solidFill>
                <a:latin typeface="Source Sans Pro Semibold" pitchFamily="34" charset="0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4526561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8" name="think-cell Folie" r:id="rId4" imgW="240" imgH="240" progId="TCLayout.ActiveDocument.1">
                  <p:embed/>
                </p:oleObj>
              </mc:Choice>
              <mc:Fallback>
                <p:oleObj name="think-cell Folie" r:id="rId4" imgW="240" imgH="24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89621" y="919195"/>
            <a:ext cx="9696000" cy="82800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Titelmasterformat </a:t>
            </a:r>
            <a:br>
              <a:rPr lang="de-DE" dirty="0"/>
            </a:br>
            <a:r>
              <a:rPr lang="de-DE" dirty="0"/>
              <a:t>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89625" y="1935690"/>
            <a:ext cx="5706377" cy="4571475"/>
          </a:xfrm>
        </p:spPr>
        <p:txBody>
          <a:bodyPr wrap="square">
            <a:noAutofit/>
          </a:bodyPr>
          <a:lstStyle>
            <a:lvl1pPr marL="200025" indent="-200025">
              <a:lnSpc>
                <a:spcPct val="100000"/>
              </a:lnSpc>
              <a:spcAft>
                <a:spcPts val="1200"/>
              </a:spcAft>
              <a:buClr>
                <a:schemeClr val="tx2"/>
              </a:buClr>
              <a:buFont typeface="+mj-lt"/>
              <a:buAutoNum type="arabicPeriod"/>
              <a:defRPr sz="1200" baseline="0">
                <a:latin typeface="+mn-lt"/>
              </a:defRPr>
            </a:lvl1pPr>
            <a:lvl2pPr marL="200025" indent="-200025">
              <a:spcAft>
                <a:spcPts val="0"/>
              </a:spcAft>
              <a:buClr>
                <a:schemeClr val="accent1"/>
              </a:buClr>
              <a:buSzPct val="100000"/>
              <a:buFont typeface="+mj-lt"/>
              <a:buAutoNum type="arabicPeriod"/>
              <a:defRPr sz="1200">
                <a:latin typeface="+mn-lt"/>
              </a:defRPr>
            </a:lvl2pPr>
            <a:lvl3pPr marL="336947" indent="-133350">
              <a:spcAft>
                <a:spcPts val="0"/>
              </a:spcAft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sz="1200">
                <a:latin typeface="+mn-lt"/>
              </a:defRPr>
            </a:lvl3pPr>
            <a:lvl4pPr marL="470297" indent="-133350">
              <a:spcAft>
                <a:spcPts val="0"/>
              </a:spcAft>
              <a:buClrTx/>
              <a:buFont typeface="Symbol" panose="05050102010706020507" pitchFamily="18" charset="2"/>
              <a:buChar char="-"/>
              <a:defRPr sz="1200">
                <a:latin typeface="+mn-lt"/>
              </a:defRPr>
            </a:lvl4pPr>
            <a:lvl5pPr marL="603647" indent="-133350">
              <a:spcAft>
                <a:spcPts val="0"/>
              </a:spcAft>
              <a:buClrTx/>
              <a:buFont typeface="Symbol" panose="05050102010706020507" pitchFamily="18" charset="2"/>
              <a:buChar char="-"/>
              <a:defRPr sz="1200">
                <a:latin typeface="+mn-lt"/>
              </a:defRPr>
            </a:lvl5pPr>
          </a:lstStyle>
          <a:p>
            <a:pPr lvl="0"/>
            <a:r>
              <a:rPr lang="de-DE" dirty="0"/>
              <a:t>Erste Ebene</a:t>
            </a:r>
          </a:p>
          <a:p>
            <a:pPr lvl="1"/>
            <a:r>
              <a:rPr lang="de-DE" dirty="0"/>
              <a:t>Blau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8448264" y="10006"/>
            <a:ext cx="1140525" cy="257369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master der MVI Group                                                                                                                                                     01.09.2016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930CFF-92E5-45D8-B02D-7D2C24FD84C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0302580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m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2" name="think-cell Folie" r:id="rId4" imgW="240" imgH="240" progId="TCLayout.ActiveDocument.1">
                  <p:embed/>
                </p:oleObj>
              </mc:Choice>
              <mc:Fallback>
                <p:oleObj name="think-cell Folie" r:id="rId4" imgW="240" imgH="240" progId="TCLayout.ActiveDocument.1">
                  <p:embed/>
                  <p:pic>
                    <p:nvPicPr>
                      <p:cNvPr id="14" name="Objek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89621" y="919195"/>
            <a:ext cx="5706379" cy="82800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Titelmasterformat </a:t>
            </a:r>
            <a:br>
              <a:rPr lang="de-DE" dirty="0"/>
            </a:br>
            <a:r>
              <a:rPr lang="de-DE" dirty="0"/>
              <a:t>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89624" y="1935689"/>
            <a:ext cx="5706379" cy="1252513"/>
          </a:xfrm>
        </p:spPr>
        <p:txBody>
          <a:bodyPr wrap="square">
            <a:spAutoFit/>
          </a:bodyPr>
          <a:lstStyle>
            <a:lvl1pPr marL="0" indent="0"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None/>
              <a:defRPr sz="1200" baseline="0">
                <a:latin typeface="+mn-lt"/>
              </a:defRPr>
            </a:lvl1pPr>
            <a:lvl2pPr marL="203597" indent="-203597">
              <a:spcAft>
                <a:spcPts val="45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latin typeface="+mn-lt"/>
              </a:defRPr>
            </a:lvl2pPr>
            <a:lvl3pPr marL="336947" indent="-133350">
              <a:spcAft>
                <a:spcPts val="450"/>
              </a:spcAft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sz="1200">
                <a:latin typeface="+mn-lt"/>
              </a:defRPr>
            </a:lvl3pPr>
            <a:lvl4pPr marL="470297" indent="-133350">
              <a:spcAft>
                <a:spcPts val="450"/>
              </a:spcAft>
              <a:buClrTx/>
              <a:buFont typeface="Symbol" panose="05050102010706020507" pitchFamily="18" charset="2"/>
              <a:buChar char="-"/>
              <a:defRPr sz="1200">
                <a:latin typeface="+mn-lt"/>
              </a:defRPr>
            </a:lvl4pPr>
            <a:lvl5pPr marL="603647" indent="-133350">
              <a:spcAft>
                <a:spcPts val="450"/>
              </a:spcAft>
              <a:buClrTx/>
              <a:buFont typeface="Symbol" panose="05050102010706020507" pitchFamily="18" charset="2"/>
              <a:buChar char="-"/>
              <a:defRPr sz="1200">
                <a:latin typeface="+mn-lt"/>
              </a:defRPr>
            </a:lvl5pPr>
          </a:lstStyle>
          <a:p>
            <a:pPr lvl="0"/>
            <a:r>
              <a:rPr lang="de-DE" dirty="0"/>
              <a:t>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8448264" y="10006"/>
            <a:ext cx="1140525" cy="257369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master der MVI Group                                                                                                                                                     01.09.2016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930CFF-92E5-45D8-B02D-7D2C24FD84C9}" type="slidenum">
              <a:rPr lang="de-DE" smtClean="0"/>
              <a:t>‹Nr.›</a:t>
            </a:fld>
            <a:endParaRPr lang="de-DE"/>
          </a:p>
        </p:txBody>
      </p:sp>
      <p:sp>
        <p:nvSpPr>
          <p:cNvPr id="7" name="Textplatzhalter 2"/>
          <p:cNvSpPr>
            <a:spLocks noGrp="1"/>
          </p:cNvSpPr>
          <p:nvPr>
            <p:ph type="body" idx="13"/>
          </p:nvPr>
        </p:nvSpPr>
        <p:spPr>
          <a:xfrm>
            <a:off x="6096000" y="2546350"/>
            <a:ext cx="1440000" cy="1080000"/>
          </a:xfr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900" b="0">
                <a:solidFill>
                  <a:schemeClr val="bg1"/>
                </a:solidFill>
                <a:latin typeface="Source Sans Pro Semibold" pitchFamily="34" charset="0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8" name="Textplatzhalter 2"/>
          <p:cNvSpPr>
            <a:spLocks noGrp="1"/>
          </p:cNvSpPr>
          <p:nvPr>
            <p:ph type="body" idx="14"/>
          </p:nvPr>
        </p:nvSpPr>
        <p:spPr>
          <a:xfrm>
            <a:off x="6070417" y="5787163"/>
            <a:ext cx="5222000" cy="720000"/>
          </a:xfrm>
          <a:solidFill>
            <a:schemeClr val="tx2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900" b="0">
                <a:solidFill>
                  <a:schemeClr val="bg1"/>
                </a:solidFill>
                <a:latin typeface="Source Sans Pro Semibold" pitchFamily="34" charset="0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9" name="Textplatzhalter 2"/>
          <p:cNvSpPr>
            <a:spLocks noGrp="1"/>
          </p:cNvSpPr>
          <p:nvPr>
            <p:ph type="body" idx="15"/>
          </p:nvPr>
        </p:nvSpPr>
        <p:spPr>
          <a:xfrm>
            <a:off x="9852417" y="2546350"/>
            <a:ext cx="1440000" cy="1080000"/>
          </a:xfrm>
          <a:prstGeom prst="ellipse">
            <a:avLst/>
          </a:prstGeom>
          <a:noFill/>
          <a:ln w="28575">
            <a:solidFill>
              <a:schemeClr val="accent1"/>
            </a:solidFill>
          </a:ln>
        </p:spPr>
        <p:txBody>
          <a:bodyPr anchor="ctr">
            <a:noAutofit/>
          </a:bodyPr>
          <a:lstStyle>
            <a:lvl1pPr marL="0" indent="0" algn="ctr">
              <a:buNone/>
              <a:defRPr sz="900" b="0">
                <a:solidFill>
                  <a:schemeClr val="tx1"/>
                </a:solidFill>
                <a:latin typeface="Source Sans Pro Semibold" pitchFamily="34" charset="0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0" name="Textplatzhalter 2"/>
          <p:cNvSpPr>
            <a:spLocks noGrp="1"/>
          </p:cNvSpPr>
          <p:nvPr>
            <p:ph type="body" idx="16"/>
          </p:nvPr>
        </p:nvSpPr>
        <p:spPr>
          <a:xfrm>
            <a:off x="7990417" y="4185145"/>
            <a:ext cx="1440000" cy="1080000"/>
          </a:xfrm>
          <a:noFill/>
          <a:ln w="6350">
            <a:solidFill>
              <a:schemeClr val="tx1"/>
            </a:solidFill>
            <a:prstDash val="solid"/>
          </a:ln>
        </p:spPr>
        <p:txBody>
          <a:bodyPr lIns="72000" rIns="72000" anchor="ctr">
            <a:noAutofit/>
          </a:bodyPr>
          <a:lstStyle>
            <a:lvl1pPr marL="0" indent="0" algn="l">
              <a:buNone/>
              <a:defRPr sz="900" b="0">
                <a:solidFill>
                  <a:schemeClr val="tx1"/>
                </a:solidFill>
                <a:latin typeface="Source Sans Pro Semibold" pitchFamily="34" charset="0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1" name="Textplatzhalter 2"/>
          <p:cNvSpPr>
            <a:spLocks noGrp="1"/>
          </p:cNvSpPr>
          <p:nvPr>
            <p:ph type="body" idx="17"/>
          </p:nvPr>
        </p:nvSpPr>
        <p:spPr>
          <a:xfrm>
            <a:off x="6096001" y="2028825"/>
            <a:ext cx="5196417" cy="360000"/>
          </a:xfrm>
          <a:solidFill>
            <a:schemeClr val="bg2"/>
          </a:solidFill>
          <a:ln>
            <a:noFill/>
          </a:ln>
        </p:spPr>
        <p:txBody>
          <a:bodyPr lIns="108000" anchor="ctr">
            <a:noAutofit/>
          </a:bodyPr>
          <a:lstStyle>
            <a:lvl1pPr marL="0" indent="0" algn="l">
              <a:buNone/>
              <a:defRPr sz="900" b="0">
                <a:solidFill>
                  <a:schemeClr val="tx1"/>
                </a:solidFill>
                <a:latin typeface="Source Sans Pro Semibold" pitchFamily="34" charset="0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2" name="Textplatzhalter 2"/>
          <p:cNvSpPr>
            <a:spLocks noGrp="1"/>
          </p:cNvSpPr>
          <p:nvPr>
            <p:ph type="body" idx="18" hasCustomPrompt="1"/>
          </p:nvPr>
        </p:nvSpPr>
        <p:spPr>
          <a:xfrm>
            <a:off x="917813" y="6127440"/>
            <a:ext cx="3304939" cy="360000"/>
          </a:xfrm>
          <a:solidFill>
            <a:schemeClr val="accent1"/>
          </a:solidFill>
          <a:ln>
            <a:noFill/>
          </a:ln>
        </p:spPr>
        <p:txBody>
          <a:bodyPr wrap="none" lIns="180000" anchor="ctr">
            <a:noAutofit/>
          </a:bodyPr>
          <a:lstStyle>
            <a:lvl1pPr marL="0" indent="0" algn="l">
              <a:buNone/>
              <a:defRPr sz="1050" b="0" baseline="0">
                <a:solidFill>
                  <a:schemeClr val="bg1"/>
                </a:solidFill>
                <a:latin typeface="Source Sans Pro Semibold" pitchFamily="34" charset="0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 dirty="0"/>
              <a:t>Hinweis</a:t>
            </a:r>
          </a:p>
        </p:txBody>
      </p:sp>
      <p:sp>
        <p:nvSpPr>
          <p:cNvPr id="13" name="Textplatzhalter 2"/>
          <p:cNvSpPr>
            <a:spLocks noGrp="1"/>
          </p:cNvSpPr>
          <p:nvPr>
            <p:ph type="body" idx="19" hasCustomPrompt="1"/>
          </p:nvPr>
        </p:nvSpPr>
        <p:spPr>
          <a:xfrm>
            <a:off x="448733" y="6127440"/>
            <a:ext cx="480000" cy="360000"/>
          </a:xfrm>
          <a:solidFill>
            <a:schemeClr val="tx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200" b="0">
                <a:solidFill>
                  <a:schemeClr val="bg1"/>
                </a:solidFill>
                <a:latin typeface="Source Sans Pro Semibold" pitchFamily="34" charset="0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99031670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6" name="think-cell Folie" r:id="rId4" imgW="240" imgH="240" progId="TCLayout.ActiveDocument.1">
                  <p:embed/>
                </p:oleObj>
              </mc:Choice>
              <mc:Fallback>
                <p:oleObj name="think-cell Folie" r:id="rId4" imgW="240" imgH="24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89621" y="919195"/>
            <a:ext cx="9696000" cy="82800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Titelmasterformat </a:t>
            </a:r>
            <a:br>
              <a:rPr lang="de-DE" dirty="0"/>
            </a:br>
            <a:r>
              <a:rPr lang="de-DE" dirty="0"/>
              <a:t>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89623" y="1935689"/>
            <a:ext cx="3833128" cy="1252513"/>
          </a:xfrm>
        </p:spPr>
        <p:txBody>
          <a:bodyPr wrap="square">
            <a:spAutoFit/>
          </a:bodyPr>
          <a:lstStyle>
            <a:lvl1pPr marL="0" indent="0"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None/>
              <a:defRPr sz="1200" baseline="0">
                <a:latin typeface="+mn-lt"/>
              </a:defRPr>
            </a:lvl1pPr>
            <a:lvl2pPr marL="203597" indent="-203597">
              <a:spcAft>
                <a:spcPts val="45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latin typeface="+mn-lt"/>
              </a:defRPr>
            </a:lvl2pPr>
            <a:lvl3pPr marL="336947" indent="-133350">
              <a:spcAft>
                <a:spcPts val="450"/>
              </a:spcAft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sz="1200">
                <a:latin typeface="+mn-lt"/>
              </a:defRPr>
            </a:lvl3pPr>
            <a:lvl4pPr marL="470297" indent="-133350">
              <a:spcAft>
                <a:spcPts val="450"/>
              </a:spcAft>
              <a:buClrTx/>
              <a:buFont typeface="Symbol" panose="05050102010706020507" pitchFamily="18" charset="2"/>
              <a:buChar char="-"/>
              <a:defRPr sz="1200">
                <a:latin typeface="+mn-lt"/>
              </a:defRPr>
            </a:lvl4pPr>
            <a:lvl5pPr marL="603647" indent="-133350">
              <a:spcAft>
                <a:spcPts val="450"/>
              </a:spcAft>
              <a:buClrTx/>
              <a:buFont typeface="Symbol" panose="05050102010706020507" pitchFamily="18" charset="2"/>
              <a:buChar char="-"/>
              <a:defRPr sz="1200">
                <a:latin typeface="+mn-lt"/>
              </a:defRPr>
            </a:lvl5pPr>
          </a:lstStyle>
          <a:p>
            <a:pPr lvl="0"/>
            <a:r>
              <a:rPr lang="de-DE" dirty="0"/>
              <a:t>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8448264" y="10006"/>
            <a:ext cx="1140525" cy="257369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master der MVI Group                                                                                                                                                     01.09.2016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930CFF-92E5-45D8-B02D-7D2C24FD84C9}" type="slidenum">
              <a:rPr lang="de-DE" smtClean="0"/>
              <a:t>‹Nr.›</a:t>
            </a:fld>
            <a:endParaRPr lang="de-DE"/>
          </a:p>
        </p:txBody>
      </p:sp>
      <p:sp>
        <p:nvSpPr>
          <p:cNvPr id="18" name="Bildplatzhalter 7"/>
          <p:cNvSpPr>
            <a:spLocks noGrp="1"/>
          </p:cNvSpPr>
          <p:nvPr>
            <p:ph type="pic" sz="quarter" idx="23" hasCustomPrompt="1"/>
          </p:nvPr>
        </p:nvSpPr>
        <p:spPr>
          <a:xfrm>
            <a:off x="5025272" y="2968410"/>
            <a:ext cx="960000" cy="720000"/>
          </a:xfrm>
        </p:spPr>
        <p:txBody>
          <a:bodyPr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825"/>
            </a:lvl1pPr>
          </a:lstStyle>
          <a:p>
            <a:r>
              <a:rPr lang="de-DE"/>
              <a:t>Icon</a:t>
            </a:r>
          </a:p>
          <a:p>
            <a:endParaRPr lang="de-DE"/>
          </a:p>
        </p:txBody>
      </p:sp>
      <p:sp>
        <p:nvSpPr>
          <p:cNvPr id="19" name="Bildplatzhalter 7"/>
          <p:cNvSpPr>
            <a:spLocks noGrp="1"/>
          </p:cNvSpPr>
          <p:nvPr>
            <p:ph type="pic" sz="quarter" idx="24" hasCustomPrompt="1"/>
          </p:nvPr>
        </p:nvSpPr>
        <p:spPr>
          <a:xfrm>
            <a:off x="6389615" y="2968410"/>
            <a:ext cx="960000" cy="720000"/>
          </a:xfrm>
        </p:spPr>
        <p:txBody>
          <a:bodyPr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825"/>
            </a:lvl1pPr>
          </a:lstStyle>
          <a:p>
            <a:r>
              <a:rPr lang="de-DE"/>
              <a:t>Icon</a:t>
            </a:r>
          </a:p>
          <a:p>
            <a:endParaRPr lang="de-DE"/>
          </a:p>
        </p:txBody>
      </p:sp>
      <p:sp>
        <p:nvSpPr>
          <p:cNvPr id="20" name="Bildplatzhalter 7"/>
          <p:cNvSpPr>
            <a:spLocks noGrp="1"/>
          </p:cNvSpPr>
          <p:nvPr>
            <p:ph type="pic" sz="quarter" idx="25" hasCustomPrompt="1"/>
          </p:nvPr>
        </p:nvSpPr>
        <p:spPr>
          <a:xfrm>
            <a:off x="7753957" y="2968410"/>
            <a:ext cx="960000" cy="720000"/>
          </a:xfrm>
        </p:spPr>
        <p:txBody>
          <a:bodyPr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825"/>
            </a:lvl1pPr>
          </a:lstStyle>
          <a:p>
            <a:r>
              <a:rPr lang="de-DE"/>
              <a:t>Icon</a:t>
            </a:r>
          </a:p>
          <a:p>
            <a:endParaRPr lang="de-DE"/>
          </a:p>
        </p:txBody>
      </p:sp>
      <p:sp>
        <p:nvSpPr>
          <p:cNvPr id="21" name="Bildplatzhalter 7"/>
          <p:cNvSpPr>
            <a:spLocks noGrp="1"/>
          </p:cNvSpPr>
          <p:nvPr>
            <p:ph type="pic" sz="quarter" idx="26" hasCustomPrompt="1"/>
          </p:nvPr>
        </p:nvSpPr>
        <p:spPr>
          <a:xfrm>
            <a:off x="9118301" y="2968410"/>
            <a:ext cx="960000" cy="720000"/>
          </a:xfrm>
        </p:spPr>
        <p:txBody>
          <a:bodyPr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825"/>
            </a:lvl1pPr>
          </a:lstStyle>
          <a:p>
            <a:r>
              <a:rPr lang="de-DE"/>
              <a:t>Icon</a:t>
            </a:r>
          </a:p>
          <a:p>
            <a:endParaRPr lang="de-DE"/>
          </a:p>
        </p:txBody>
      </p:sp>
      <p:sp>
        <p:nvSpPr>
          <p:cNvPr id="25" name="Bildplatzhalter 7"/>
          <p:cNvSpPr>
            <a:spLocks noGrp="1"/>
          </p:cNvSpPr>
          <p:nvPr>
            <p:ph type="pic" sz="quarter" idx="30" hasCustomPrompt="1"/>
          </p:nvPr>
        </p:nvSpPr>
        <p:spPr>
          <a:xfrm>
            <a:off x="5025272" y="3907994"/>
            <a:ext cx="960000" cy="720000"/>
          </a:xfrm>
        </p:spPr>
        <p:txBody>
          <a:bodyPr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825"/>
            </a:lvl1pPr>
          </a:lstStyle>
          <a:p>
            <a:r>
              <a:rPr lang="de-DE"/>
              <a:t>Icon</a:t>
            </a:r>
          </a:p>
          <a:p>
            <a:endParaRPr lang="de-DE"/>
          </a:p>
        </p:txBody>
      </p:sp>
      <p:sp>
        <p:nvSpPr>
          <p:cNvPr id="26" name="Bildplatzhalter 7"/>
          <p:cNvSpPr>
            <a:spLocks noGrp="1"/>
          </p:cNvSpPr>
          <p:nvPr>
            <p:ph type="pic" sz="quarter" idx="31" hasCustomPrompt="1"/>
          </p:nvPr>
        </p:nvSpPr>
        <p:spPr>
          <a:xfrm>
            <a:off x="6389615" y="3907994"/>
            <a:ext cx="960000" cy="720000"/>
          </a:xfrm>
        </p:spPr>
        <p:txBody>
          <a:bodyPr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825"/>
            </a:lvl1pPr>
          </a:lstStyle>
          <a:p>
            <a:r>
              <a:rPr lang="de-DE"/>
              <a:t>Icon</a:t>
            </a:r>
          </a:p>
          <a:p>
            <a:endParaRPr lang="de-DE"/>
          </a:p>
        </p:txBody>
      </p:sp>
      <p:sp>
        <p:nvSpPr>
          <p:cNvPr id="27" name="Bildplatzhalter 7"/>
          <p:cNvSpPr>
            <a:spLocks noGrp="1"/>
          </p:cNvSpPr>
          <p:nvPr>
            <p:ph type="pic" sz="quarter" idx="32" hasCustomPrompt="1"/>
          </p:nvPr>
        </p:nvSpPr>
        <p:spPr>
          <a:xfrm>
            <a:off x="7753957" y="3907994"/>
            <a:ext cx="960000" cy="720000"/>
          </a:xfrm>
        </p:spPr>
        <p:txBody>
          <a:bodyPr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825"/>
            </a:lvl1pPr>
          </a:lstStyle>
          <a:p>
            <a:r>
              <a:rPr lang="de-DE"/>
              <a:t>Icon</a:t>
            </a:r>
          </a:p>
          <a:p>
            <a:endParaRPr lang="de-DE"/>
          </a:p>
        </p:txBody>
      </p:sp>
      <p:sp>
        <p:nvSpPr>
          <p:cNvPr id="28" name="Bildplatzhalter 7"/>
          <p:cNvSpPr>
            <a:spLocks noGrp="1"/>
          </p:cNvSpPr>
          <p:nvPr>
            <p:ph type="pic" sz="quarter" idx="33" hasCustomPrompt="1"/>
          </p:nvPr>
        </p:nvSpPr>
        <p:spPr>
          <a:xfrm>
            <a:off x="9118301" y="3907994"/>
            <a:ext cx="960000" cy="720000"/>
          </a:xfrm>
        </p:spPr>
        <p:txBody>
          <a:bodyPr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825"/>
            </a:lvl1pPr>
          </a:lstStyle>
          <a:p>
            <a:r>
              <a:rPr lang="de-DE"/>
              <a:t>Icon</a:t>
            </a:r>
          </a:p>
          <a:p>
            <a:endParaRPr lang="de-DE"/>
          </a:p>
        </p:txBody>
      </p:sp>
      <p:sp>
        <p:nvSpPr>
          <p:cNvPr id="11" name="Bildplatzhalter 7"/>
          <p:cNvSpPr>
            <a:spLocks noGrp="1"/>
          </p:cNvSpPr>
          <p:nvPr>
            <p:ph type="pic" sz="quarter" idx="16" hasCustomPrompt="1"/>
          </p:nvPr>
        </p:nvSpPr>
        <p:spPr>
          <a:xfrm>
            <a:off x="5025272" y="2028825"/>
            <a:ext cx="960000" cy="720000"/>
          </a:xfrm>
        </p:spPr>
        <p:txBody>
          <a:bodyPr>
            <a:noAutofit/>
          </a:bodyPr>
          <a:lstStyle>
            <a:lvl1pPr>
              <a:defRPr sz="825"/>
            </a:lvl1pPr>
          </a:lstStyle>
          <a:p>
            <a:r>
              <a:rPr lang="de-DE"/>
              <a:t>Icon</a:t>
            </a:r>
          </a:p>
        </p:txBody>
      </p:sp>
      <p:sp>
        <p:nvSpPr>
          <p:cNvPr id="12" name="Bildplatzhalter 7"/>
          <p:cNvSpPr>
            <a:spLocks noGrp="1"/>
          </p:cNvSpPr>
          <p:nvPr>
            <p:ph type="pic" sz="quarter" idx="17" hasCustomPrompt="1"/>
          </p:nvPr>
        </p:nvSpPr>
        <p:spPr>
          <a:xfrm>
            <a:off x="6389615" y="2028825"/>
            <a:ext cx="960000" cy="720000"/>
          </a:xfrm>
        </p:spPr>
        <p:txBody>
          <a:bodyPr>
            <a:noAutofit/>
          </a:bodyPr>
          <a:lstStyle>
            <a:lvl1pPr>
              <a:defRPr sz="825"/>
            </a:lvl1pPr>
          </a:lstStyle>
          <a:p>
            <a:r>
              <a:rPr lang="de-DE"/>
              <a:t>Icon</a:t>
            </a:r>
          </a:p>
        </p:txBody>
      </p:sp>
      <p:sp>
        <p:nvSpPr>
          <p:cNvPr id="13" name="Bildplatzhalter 7"/>
          <p:cNvSpPr>
            <a:spLocks noGrp="1"/>
          </p:cNvSpPr>
          <p:nvPr>
            <p:ph type="pic" sz="quarter" idx="18" hasCustomPrompt="1"/>
          </p:nvPr>
        </p:nvSpPr>
        <p:spPr>
          <a:xfrm>
            <a:off x="7753957" y="2028825"/>
            <a:ext cx="960000" cy="720000"/>
          </a:xfrm>
        </p:spPr>
        <p:txBody>
          <a:bodyPr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825"/>
            </a:lvl1pPr>
          </a:lstStyle>
          <a:p>
            <a:r>
              <a:rPr lang="de-DE"/>
              <a:t>Icon</a:t>
            </a:r>
          </a:p>
          <a:p>
            <a:endParaRPr lang="de-DE"/>
          </a:p>
        </p:txBody>
      </p:sp>
      <p:sp>
        <p:nvSpPr>
          <p:cNvPr id="14" name="Bildplatzhalter 7"/>
          <p:cNvSpPr>
            <a:spLocks noGrp="1"/>
          </p:cNvSpPr>
          <p:nvPr>
            <p:ph type="pic" sz="quarter" idx="19" hasCustomPrompt="1"/>
          </p:nvPr>
        </p:nvSpPr>
        <p:spPr>
          <a:xfrm>
            <a:off x="9118301" y="2028825"/>
            <a:ext cx="960000" cy="720000"/>
          </a:xfrm>
        </p:spPr>
        <p:txBody>
          <a:bodyPr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825"/>
            </a:lvl1pPr>
          </a:lstStyle>
          <a:p>
            <a:r>
              <a:rPr lang="de-DE"/>
              <a:t>Icon</a:t>
            </a:r>
          </a:p>
          <a:p>
            <a:endParaRPr lang="de-DE"/>
          </a:p>
        </p:txBody>
      </p:sp>
      <p:sp>
        <p:nvSpPr>
          <p:cNvPr id="29" name="Bildplatzhalter 7"/>
          <p:cNvSpPr>
            <a:spLocks noGrp="1"/>
          </p:cNvSpPr>
          <p:nvPr>
            <p:ph type="pic" sz="quarter" idx="34" hasCustomPrompt="1"/>
          </p:nvPr>
        </p:nvSpPr>
        <p:spPr>
          <a:xfrm>
            <a:off x="5025272" y="4847579"/>
            <a:ext cx="960000" cy="720000"/>
          </a:xfrm>
        </p:spPr>
        <p:txBody>
          <a:bodyPr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825"/>
            </a:lvl1pPr>
          </a:lstStyle>
          <a:p>
            <a:r>
              <a:rPr lang="de-DE"/>
              <a:t>Icon</a:t>
            </a:r>
          </a:p>
          <a:p>
            <a:endParaRPr lang="de-DE"/>
          </a:p>
        </p:txBody>
      </p:sp>
      <p:sp>
        <p:nvSpPr>
          <p:cNvPr id="30" name="Bildplatzhalter 7"/>
          <p:cNvSpPr>
            <a:spLocks noGrp="1"/>
          </p:cNvSpPr>
          <p:nvPr>
            <p:ph type="pic" sz="quarter" idx="35" hasCustomPrompt="1"/>
          </p:nvPr>
        </p:nvSpPr>
        <p:spPr>
          <a:xfrm>
            <a:off x="6389615" y="4847579"/>
            <a:ext cx="960000" cy="720000"/>
          </a:xfrm>
        </p:spPr>
        <p:txBody>
          <a:bodyPr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825"/>
            </a:lvl1pPr>
          </a:lstStyle>
          <a:p>
            <a:r>
              <a:rPr lang="de-DE"/>
              <a:t>Icon</a:t>
            </a:r>
          </a:p>
          <a:p>
            <a:endParaRPr lang="de-DE"/>
          </a:p>
        </p:txBody>
      </p:sp>
      <p:sp>
        <p:nvSpPr>
          <p:cNvPr id="31" name="Bildplatzhalter 7"/>
          <p:cNvSpPr>
            <a:spLocks noGrp="1"/>
          </p:cNvSpPr>
          <p:nvPr>
            <p:ph type="pic" sz="quarter" idx="36" hasCustomPrompt="1"/>
          </p:nvPr>
        </p:nvSpPr>
        <p:spPr>
          <a:xfrm>
            <a:off x="7753957" y="4847579"/>
            <a:ext cx="960000" cy="720000"/>
          </a:xfrm>
        </p:spPr>
        <p:txBody>
          <a:bodyPr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825"/>
            </a:lvl1pPr>
          </a:lstStyle>
          <a:p>
            <a:r>
              <a:rPr lang="de-DE"/>
              <a:t>Icon</a:t>
            </a:r>
          </a:p>
          <a:p>
            <a:endParaRPr lang="de-DE"/>
          </a:p>
        </p:txBody>
      </p:sp>
      <p:sp>
        <p:nvSpPr>
          <p:cNvPr id="32" name="Bildplatzhalter 7"/>
          <p:cNvSpPr>
            <a:spLocks noGrp="1"/>
          </p:cNvSpPr>
          <p:nvPr>
            <p:ph type="pic" sz="quarter" idx="37" hasCustomPrompt="1"/>
          </p:nvPr>
        </p:nvSpPr>
        <p:spPr>
          <a:xfrm>
            <a:off x="9118301" y="4847579"/>
            <a:ext cx="960000" cy="720000"/>
          </a:xfrm>
        </p:spPr>
        <p:txBody>
          <a:bodyPr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825"/>
            </a:lvl1pPr>
          </a:lstStyle>
          <a:p>
            <a:r>
              <a:rPr lang="de-DE"/>
              <a:t>Icon</a:t>
            </a:r>
          </a:p>
          <a:p>
            <a:endParaRPr lang="de-DE"/>
          </a:p>
        </p:txBody>
      </p:sp>
      <p:sp>
        <p:nvSpPr>
          <p:cNvPr id="33" name="Bildplatzhalter 7"/>
          <p:cNvSpPr>
            <a:spLocks noGrp="1"/>
          </p:cNvSpPr>
          <p:nvPr>
            <p:ph type="pic" sz="quarter" idx="38" hasCustomPrompt="1"/>
          </p:nvPr>
        </p:nvSpPr>
        <p:spPr>
          <a:xfrm>
            <a:off x="5025272" y="5787163"/>
            <a:ext cx="960000" cy="720000"/>
          </a:xfrm>
        </p:spPr>
        <p:txBody>
          <a:bodyPr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825"/>
            </a:lvl1pPr>
          </a:lstStyle>
          <a:p>
            <a:r>
              <a:rPr lang="de-DE"/>
              <a:t>Icon</a:t>
            </a:r>
          </a:p>
          <a:p>
            <a:endParaRPr lang="de-DE"/>
          </a:p>
        </p:txBody>
      </p:sp>
      <p:sp>
        <p:nvSpPr>
          <p:cNvPr id="34" name="Bildplatzhalter 7"/>
          <p:cNvSpPr>
            <a:spLocks noGrp="1"/>
          </p:cNvSpPr>
          <p:nvPr>
            <p:ph type="pic" sz="quarter" idx="39" hasCustomPrompt="1"/>
          </p:nvPr>
        </p:nvSpPr>
        <p:spPr>
          <a:xfrm>
            <a:off x="6389615" y="5787163"/>
            <a:ext cx="960000" cy="720000"/>
          </a:xfrm>
        </p:spPr>
        <p:txBody>
          <a:bodyPr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825"/>
            </a:lvl1pPr>
          </a:lstStyle>
          <a:p>
            <a:r>
              <a:rPr lang="de-DE"/>
              <a:t>Icon</a:t>
            </a:r>
          </a:p>
          <a:p>
            <a:endParaRPr lang="de-DE"/>
          </a:p>
        </p:txBody>
      </p:sp>
      <p:sp>
        <p:nvSpPr>
          <p:cNvPr id="35" name="Bildplatzhalter 7"/>
          <p:cNvSpPr>
            <a:spLocks noGrp="1"/>
          </p:cNvSpPr>
          <p:nvPr>
            <p:ph type="pic" sz="quarter" idx="40" hasCustomPrompt="1"/>
          </p:nvPr>
        </p:nvSpPr>
        <p:spPr>
          <a:xfrm>
            <a:off x="7753957" y="5787163"/>
            <a:ext cx="960000" cy="720000"/>
          </a:xfrm>
        </p:spPr>
        <p:txBody>
          <a:bodyPr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825"/>
            </a:lvl1pPr>
          </a:lstStyle>
          <a:p>
            <a:r>
              <a:rPr lang="de-DE"/>
              <a:t>Icon</a:t>
            </a:r>
          </a:p>
          <a:p>
            <a:endParaRPr lang="de-DE"/>
          </a:p>
        </p:txBody>
      </p:sp>
      <p:sp>
        <p:nvSpPr>
          <p:cNvPr id="36" name="Bildplatzhalter 7"/>
          <p:cNvSpPr>
            <a:spLocks noGrp="1"/>
          </p:cNvSpPr>
          <p:nvPr>
            <p:ph type="pic" sz="quarter" idx="41" hasCustomPrompt="1"/>
          </p:nvPr>
        </p:nvSpPr>
        <p:spPr>
          <a:xfrm>
            <a:off x="9118301" y="5787163"/>
            <a:ext cx="960000" cy="720000"/>
          </a:xfrm>
        </p:spPr>
        <p:txBody>
          <a:bodyPr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825"/>
            </a:lvl1pPr>
          </a:lstStyle>
          <a:p>
            <a:r>
              <a:rPr lang="de-DE"/>
              <a:t>Icon</a:t>
            </a:r>
          </a:p>
          <a:p>
            <a:endParaRPr lang="de-DE"/>
          </a:p>
        </p:txBody>
      </p:sp>
      <p:sp>
        <p:nvSpPr>
          <p:cNvPr id="37" name="Textplatzhalter 2"/>
          <p:cNvSpPr>
            <a:spLocks noGrp="1"/>
          </p:cNvSpPr>
          <p:nvPr>
            <p:ph type="body" idx="42" hasCustomPrompt="1"/>
          </p:nvPr>
        </p:nvSpPr>
        <p:spPr>
          <a:xfrm>
            <a:off x="917813" y="6127440"/>
            <a:ext cx="3304939" cy="360000"/>
          </a:xfrm>
          <a:solidFill>
            <a:schemeClr val="accent1"/>
          </a:solidFill>
          <a:ln>
            <a:noFill/>
          </a:ln>
        </p:spPr>
        <p:txBody>
          <a:bodyPr wrap="none" lIns="180000" anchor="ctr">
            <a:noAutofit/>
          </a:bodyPr>
          <a:lstStyle>
            <a:lvl1pPr marL="0" indent="0" algn="l">
              <a:buNone/>
              <a:defRPr sz="1050" b="0" baseline="0">
                <a:solidFill>
                  <a:schemeClr val="bg1"/>
                </a:solidFill>
                <a:latin typeface="Source Sans Pro Semibold" pitchFamily="34" charset="0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 dirty="0"/>
              <a:t>Hinweis</a:t>
            </a:r>
          </a:p>
        </p:txBody>
      </p:sp>
      <p:sp>
        <p:nvSpPr>
          <p:cNvPr id="38" name="Textplatzhalter 2"/>
          <p:cNvSpPr>
            <a:spLocks noGrp="1"/>
          </p:cNvSpPr>
          <p:nvPr>
            <p:ph type="body" idx="43" hasCustomPrompt="1"/>
          </p:nvPr>
        </p:nvSpPr>
        <p:spPr>
          <a:xfrm>
            <a:off x="448733" y="6127440"/>
            <a:ext cx="480000" cy="360000"/>
          </a:xfrm>
          <a:solidFill>
            <a:schemeClr val="tx2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200" b="0">
                <a:solidFill>
                  <a:schemeClr val="bg1"/>
                </a:solidFill>
                <a:latin typeface="Source Sans Pro Semibold" pitchFamily="34" charset="0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7961432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0" name="think-cell Folie" r:id="rId4" imgW="240" imgH="240" progId="TCLayout.ActiveDocument.1">
                  <p:embed/>
                </p:oleObj>
              </mc:Choice>
              <mc:Fallback>
                <p:oleObj name="think-cell Folie" r:id="rId4" imgW="240" imgH="240" progId="TCLayout.ActiveDocument.1">
                  <p:embed/>
                  <p:pic>
                    <p:nvPicPr>
                      <p:cNvPr id="10" name="Objekt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89621" y="919195"/>
            <a:ext cx="9696000" cy="82800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Titelmasterformat </a:t>
            </a:r>
            <a:br>
              <a:rPr lang="de-DE" dirty="0"/>
            </a:br>
            <a:r>
              <a:rPr lang="de-DE" dirty="0"/>
              <a:t>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89623" y="1935689"/>
            <a:ext cx="3833128" cy="1252513"/>
          </a:xfrm>
        </p:spPr>
        <p:txBody>
          <a:bodyPr wrap="square">
            <a:spAutoFit/>
          </a:bodyPr>
          <a:lstStyle>
            <a:lvl1pPr marL="0" indent="0"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None/>
              <a:defRPr sz="1200" baseline="0">
                <a:latin typeface="+mn-lt"/>
              </a:defRPr>
            </a:lvl1pPr>
            <a:lvl2pPr marL="203597" indent="-203597">
              <a:spcAft>
                <a:spcPts val="45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latin typeface="+mn-lt"/>
              </a:defRPr>
            </a:lvl2pPr>
            <a:lvl3pPr marL="336947" indent="-133350">
              <a:spcAft>
                <a:spcPts val="450"/>
              </a:spcAft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sz="1200">
                <a:latin typeface="+mn-lt"/>
              </a:defRPr>
            </a:lvl3pPr>
            <a:lvl4pPr marL="470297" indent="-133350">
              <a:spcAft>
                <a:spcPts val="450"/>
              </a:spcAft>
              <a:buClrTx/>
              <a:buFont typeface="Symbol" panose="05050102010706020507" pitchFamily="18" charset="2"/>
              <a:buChar char="-"/>
              <a:defRPr sz="1200">
                <a:latin typeface="+mn-lt"/>
              </a:defRPr>
            </a:lvl4pPr>
            <a:lvl5pPr marL="603647" indent="-133350">
              <a:spcAft>
                <a:spcPts val="450"/>
              </a:spcAft>
              <a:buClrTx/>
              <a:buFont typeface="Symbol" panose="05050102010706020507" pitchFamily="18" charset="2"/>
              <a:buChar char="-"/>
              <a:defRPr sz="1200">
                <a:latin typeface="+mn-lt"/>
              </a:defRPr>
            </a:lvl5pPr>
          </a:lstStyle>
          <a:p>
            <a:pPr lvl="0"/>
            <a:r>
              <a:rPr lang="de-DE" dirty="0"/>
              <a:t>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8448264" y="10006"/>
            <a:ext cx="1140525" cy="257369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master der MVI Group                                                                                                                                                     01.09.2016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930CFF-92E5-45D8-B02D-7D2C24FD84C9}" type="slidenum">
              <a:rPr lang="de-DE" smtClean="0"/>
              <a:t>‹Nr.›</a:t>
            </a:fld>
            <a:endParaRPr lang="de-DE"/>
          </a:p>
        </p:txBody>
      </p:sp>
      <p:sp>
        <p:nvSpPr>
          <p:cNvPr id="7" name="Bildplatzhalter 7"/>
          <p:cNvSpPr>
            <a:spLocks noGrp="1"/>
          </p:cNvSpPr>
          <p:nvPr>
            <p:ph type="pic" sz="quarter" idx="14"/>
          </p:nvPr>
        </p:nvSpPr>
        <p:spPr>
          <a:xfrm>
            <a:off x="8861778" y="2028825"/>
            <a:ext cx="3330223" cy="1594908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05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5"/>
          </p:nvPr>
        </p:nvSpPr>
        <p:spPr>
          <a:xfrm>
            <a:off x="5937958" y="2809082"/>
            <a:ext cx="6254044" cy="2128308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05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9" name="Bildplatzhalter 7"/>
          <p:cNvSpPr>
            <a:spLocks noGrp="1"/>
          </p:cNvSpPr>
          <p:nvPr>
            <p:ph type="pic" sz="quarter" idx="13"/>
          </p:nvPr>
        </p:nvSpPr>
        <p:spPr>
          <a:xfrm>
            <a:off x="4222753" y="4461935"/>
            <a:ext cx="3871383" cy="239606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050"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215856557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intergrund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4" name="think-cell Folie" r:id="rId4" imgW="240" imgH="240" progId="TCLayout.ActiveDocument.1">
                  <p:embed/>
                </p:oleObj>
              </mc:Choice>
              <mc:Fallback>
                <p:oleObj name="think-cell Folie" r:id="rId4" imgW="240" imgH="24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</p:spPr>
        <p:txBody>
          <a:bodyPr anchor="t">
            <a:noAutofit/>
          </a:bodyPr>
          <a:lstStyle>
            <a:lvl1pPr marL="0" indent="0">
              <a:buFontTx/>
              <a:buNone/>
              <a:defRPr sz="105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41884" y="1888176"/>
            <a:ext cx="4800000" cy="3600000"/>
          </a:xfrm>
          <a:solidFill>
            <a:schemeClr val="bg1"/>
          </a:solidFill>
        </p:spPr>
        <p:txBody>
          <a:bodyPr wrap="square" lIns="216000" tIns="324000" rIns="108000" bIns="216000">
            <a:noAutofit/>
          </a:bodyPr>
          <a:lstStyle>
            <a:lvl1pPr marL="0" indent="0"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None/>
              <a:defRPr sz="1200" baseline="0">
                <a:latin typeface="+mn-lt"/>
              </a:defRPr>
            </a:lvl1pPr>
            <a:lvl2pPr marL="203597" indent="-203597">
              <a:spcAft>
                <a:spcPts val="45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latin typeface="+mn-lt"/>
              </a:defRPr>
            </a:lvl2pPr>
            <a:lvl3pPr marL="266700" indent="-133350">
              <a:spcAft>
                <a:spcPts val="450"/>
              </a:spcAft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sz="1200">
                <a:latin typeface="+mn-lt"/>
              </a:defRPr>
            </a:lvl3pPr>
            <a:lvl4pPr marL="404813" indent="-138113">
              <a:spcAft>
                <a:spcPts val="450"/>
              </a:spcAft>
              <a:buClrTx/>
              <a:buFont typeface="Symbol" panose="05050102010706020507" pitchFamily="18" charset="2"/>
              <a:buChar char="-"/>
              <a:defRPr sz="1200">
                <a:latin typeface="+mn-lt"/>
              </a:defRPr>
            </a:lvl4pPr>
            <a:lvl5pPr marL="539354" indent="-134541">
              <a:spcAft>
                <a:spcPts val="450"/>
              </a:spcAft>
              <a:buClrTx/>
              <a:buFont typeface="Symbol" panose="05050102010706020507" pitchFamily="18" charset="2"/>
              <a:buChar char="-"/>
              <a:defRPr sz="1200">
                <a:latin typeface="+mn-lt"/>
              </a:defRPr>
            </a:lvl5pPr>
          </a:lstStyle>
          <a:p>
            <a:pPr lvl="0"/>
            <a:r>
              <a:rPr lang="de-DE" dirty="0" err="1"/>
              <a:t>Weisses</a:t>
            </a:r>
            <a:r>
              <a:rPr lang="de-DE" dirty="0"/>
              <a:t> Textfeld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2" name="Inhaltsplatzhalter 2"/>
          <p:cNvSpPr>
            <a:spLocks noGrp="1"/>
          </p:cNvSpPr>
          <p:nvPr>
            <p:ph idx="16" hasCustomPrompt="1"/>
          </p:nvPr>
        </p:nvSpPr>
        <p:spPr>
          <a:xfrm>
            <a:off x="6474561" y="1888176"/>
            <a:ext cx="4800000" cy="3600000"/>
          </a:xfrm>
          <a:solidFill>
            <a:srgbClr val="FFFFFF">
              <a:alpha val="80000"/>
            </a:srgbClr>
          </a:solidFill>
        </p:spPr>
        <p:txBody>
          <a:bodyPr wrap="square" lIns="216000" tIns="324000" rIns="108000" bIns="216000">
            <a:noAutofit/>
          </a:bodyPr>
          <a:lstStyle>
            <a:lvl1pPr marL="0" indent="0"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None/>
              <a:defRPr sz="1200" baseline="0">
                <a:latin typeface="+mn-lt"/>
              </a:defRPr>
            </a:lvl1pPr>
            <a:lvl2pPr marL="203597" indent="-203597">
              <a:spcAft>
                <a:spcPts val="45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latin typeface="+mn-lt"/>
              </a:defRPr>
            </a:lvl2pPr>
            <a:lvl3pPr marL="266700" indent="-133350">
              <a:spcAft>
                <a:spcPts val="450"/>
              </a:spcAft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sz="1200">
                <a:latin typeface="+mn-lt"/>
              </a:defRPr>
            </a:lvl3pPr>
            <a:lvl4pPr marL="404813" indent="-138113">
              <a:spcAft>
                <a:spcPts val="450"/>
              </a:spcAft>
              <a:buClrTx/>
              <a:buFont typeface="Symbol" panose="05050102010706020507" pitchFamily="18" charset="2"/>
              <a:buChar char="-"/>
              <a:defRPr sz="1200">
                <a:latin typeface="+mn-lt"/>
              </a:defRPr>
            </a:lvl4pPr>
            <a:lvl5pPr marL="539354" indent="-134541">
              <a:spcAft>
                <a:spcPts val="450"/>
              </a:spcAft>
              <a:buClrTx/>
              <a:buFont typeface="Symbol" panose="05050102010706020507" pitchFamily="18" charset="2"/>
              <a:buChar char="-"/>
              <a:defRPr sz="1200">
                <a:latin typeface="+mn-lt"/>
              </a:defRPr>
            </a:lvl5pPr>
          </a:lstStyle>
          <a:p>
            <a:pPr lvl="0"/>
            <a:r>
              <a:rPr lang="de-DE" dirty="0"/>
              <a:t>Textfeld 20% transparent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755072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tags" Target="../tags/tag12.xml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vmlDrawing" Target="../drawings/vmlDrawing12.vml"/><Relationship Id="rId2" Type="http://schemas.openxmlformats.org/officeDocument/2006/relationships/slideLayout" Target="../slideLayouts/slideLayout12.xml"/><Relationship Id="rId16" Type="http://schemas.openxmlformats.org/officeDocument/2006/relationships/image" Target="../media/image2.jpeg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4" Type="http://schemas.openxmlformats.org/officeDocument/2006/relationships/oleObject" Target="../embeddings/oleObject12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Folie" r:id="rId14" imgW="240" imgH="240" progId="TCLayout.ActiveDocument.1">
                  <p:embed/>
                </p:oleObj>
              </mc:Choice>
              <mc:Fallback>
                <p:oleObj name="think-cell Folie" r:id="rId14" imgW="240" imgH="240" progId="TCLayout.ActiveDocument.1">
                  <p:embed/>
                  <p:pic>
                    <p:nvPicPr>
                      <p:cNvPr id="10" name="Objekt 9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/>
        </p:nvSpPr>
        <p:spPr>
          <a:xfrm>
            <a:off x="2" y="0"/>
            <a:ext cx="10115551" cy="28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350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89621" y="919196"/>
            <a:ext cx="9696000" cy="816496"/>
          </a:xfrm>
          <a:prstGeom prst="rect">
            <a:avLst/>
          </a:prstGeom>
        </p:spPr>
        <p:txBody>
          <a:bodyPr vert="horz" lIns="36000" tIns="36000" rIns="36000" bIns="36000" rtlCol="0" anchor="t">
            <a:noAutofit/>
          </a:bodyPr>
          <a:lstStyle/>
          <a:p>
            <a:r>
              <a:rPr lang="de-DE" dirty="0"/>
              <a:t>Titelmasterformat durch </a:t>
            </a:r>
            <a:br>
              <a:rPr lang="de-DE" dirty="0"/>
            </a:br>
            <a:r>
              <a:rPr lang="de-DE" dirty="0"/>
              <a:t>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89623" y="2437732"/>
            <a:ext cx="9696000" cy="1188393"/>
          </a:xfrm>
          <a:prstGeom prst="rect">
            <a:avLst/>
          </a:prstGeom>
        </p:spPr>
        <p:txBody>
          <a:bodyPr vert="horz" lIns="36000" tIns="36000" rIns="36000" bIns="36000" rtlCol="0">
            <a:sp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88899" y="33089"/>
            <a:ext cx="9391520" cy="211203"/>
          </a:xfrm>
          <a:prstGeom prst="rect">
            <a:avLst/>
          </a:prstGeom>
        </p:spPr>
        <p:txBody>
          <a:bodyPr vert="horz" wrap="square" lIns="36000" tIns="36000" rIns="36000" bIns="36000" rtlCol="0" anchor="ctr">
            <a:sp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r>
              <a:rPr lang="de-DE"/>
              <a:t>Folienmaster der MVI Group                                                                                                                                                     01.09.2016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696400" y="33089"/>
            <a:ext cx="489512" cy="211203"/>
          </a:xfrm>
          <a:prstGeom prst="rect">
            <a:avLst/>
          </a:prstGeom>
        </p:spPr>
        <p:txBody>
          <a:bodyPr vert="horz" wrap="square" lIns="36000" tIns="36000" rIns="36000" bIns="36000" rtlCol="0" anchor="ctr">
            <a:spAutoFit/>
          </a:bodyPr>
          <a:lstStyle>
            <a:lvl1pPr algn="l">
              <a:defRPr sz="900">
                <a:solidFill>
                  <a:schemeClr val="tx1"/>
                </a:solidFill>
                <a:latin typeface="Source Sans Pro Semibold" pitchFamily="34" charset="0"/>
              </a:defRPr>
            </a:lvl1pPr>
          </a:lstStyle>
          <a:p>
            <a:fld id="{BF930CFF-92E5-45D8-B02D-7D2C24FD84C9}" type="slidenum">
              <a:rPr lang="de-DE" smtClean="0"/>
              <a:pPr/>
              <a:t>‹Nr.›</a:t>
            </a:fld>
            <a:endParaRPr lang="de-DE"/>
          </a:p>
        </p:txBody>
      </p:sp>
      <p:cxnSp>
        <p:nvCxnSpPr>
          <p:cNvPr id="12" name="Gerade Verbindung 11"/>
          <p:cNvCxnSpPr/>
          <p:nvPr/>
        </p:nvCxnSpPr>
        <p:spPr>
          <a:xfrm>
            <a:off x="9650780" y="48687"/>
            <a:ext cx="0" cy="180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Gerade Verbindung 7"/>
          <p:cNvCxnSpPr/>
          <p:nvPr/>
        </p:nvCxnSpPr>
        <p:spPr>
          <a:xfrm>
            <a:off x="9650780" y="48687"/>
            <a:ext cx="0" cy="180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09160" y="138687"/>
            <a:ext cx="660389" cy="6582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258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7" r:id="rId5"/>
    <p:sldLayoutId id="2147483688" r:id="rId6"/>
    <p:sldLayoutId id="2147483689" r:id="rId7"/>
    <p:sldLayoutId id="2147483690" r:id="rId8"/>
    <p:sldLayoutId id="2147483691" r:id="rId9"/>
    <p:sldLayoutId id="2147483692" r:id="rId10"/>
  </p:sldLayoutIdLst>
  <p:hf hdr="0" dt="0"/>
  <p:txStyles>
    <p:titleStyle>
      <a:lvl1pPr algn="l" defTabSz="685800" rtl="0" eaLnBrk="1" latinLnBrk="0" hangingPunct="1">
        <a:lnSpc>
          <a:spcPts val="2175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spcBef>
          <a:spcPts val="0"/>
        </a:spcBef>
        <a:spcAft>
          <a:spcPts val="0"/>
        </a:spcAft>
        <a:buClr>
          <a:schemeClr val="tx2"/>
        </a:buClr>
        <a:buFontTx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203597" indent="-203597" algn="l" defTabSz="685800" rtl="0" eaLnBrk="1" latinLnBrk="0" hangingPunct="1">
        <a:spcBef>
          <a:spcPts val="0"/>
        </a:spcBef>
        <a:spcAft>
          <a:spcPts val="45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336947" indent="-133350" algn="l" defTabSz="685800" rtl="0" eaLnBrk="1" latinLnBrk="0" hangingPunct="1">
        <a:spcBef>
          <a:spcPts val="0"/>
        </a:spcBef>
        <a:spcAft>
          <a:spcPts val="450"/>
        </a:spcAft>
        <a:buClrTx/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470297" indent="-133350" algn="l" defTabSz="685800" rtl="0" eaLnBrk="1" latinLnBrk="0" hangingPunct="1">
        <a:spcBef>
          <a:spcPts val="0"/>
        </a:spcBef>
        <a:spcAft>
          <a:spcPts val="450"/>
        </a:spcAft>
        <a:buClrTx/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603647" indent="-133350" algn="l" defTabSz="685800" rtl="0" eaLnBrk="1" latinLnBrk="0" hangingPunct="1">
        <a:spcBef>
          <a:spcPts val="0"/>
        </a:spcBef>
        <a:spcAft>
          <a:spcPts val="450"/>
        </a:spcAft>
        <a:buClrTx/>
        <a:buFont typeface="Symbol" panose="05050102010706020507" pitchFamily="18" charset="2"/>
        <a:buChar char="-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2" name="think-cell Folie" r:id="rId14" imgW="240" imgH="240" progId="TCLayout.ActiveDocument.1">
                  <p:embed/>
                </p:oleObj>
              </mc:Choice>
              <mc:Fallback>
                <p:oleObj name="think-cell Folie" r:id="rId14" imgW="240" imgH="240" progId="TCLayout.ActiveDocument.1">
                  <p:embed/>
                  <p:pic>
                    <p:nvPicPr>
                      <p:cNvPr id="10" name="Objekt 9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/>
        </p:nvSpPr>
        <p:spPr>
          <a:xfrm>
            <a:off x="1" y="0"/>
            <a:ext cx="10115551" cy="28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89621" y="919196"/>
            <a:ext cx="9696000" cy="816496"/>
          </a:xfrm>
          <a:prstGeom prst="rect">
            <a:avLst/>
          </a:prstGeom>
        </p:spPr>
        <p:txBody>
          <a:bodyPr vert="horz" lIns="36000" tIns="36000" rIns="36000" bIns="36000" rtlCol="0" anchor="t">
            <a:noAutofit/>
          </a:bodyPr>
          <a:lstStyle/>
          <a:p>
            <a:r>
              <a:rPr lang="de-DE" dirty="0"/>
              <a:t>Titelmasterformat durch </a:t>
            </a:r>
            <a:br>
              <a:rPr lang="de-DE" dirty="0"/>
            </a:br>
            <a:r>
              <a:rPr lang="de-DE" dirty="0"/>
              <a:t>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89623" y="2437731"/>
            <a:ext cx="9696000" cy="1534642"/>
          </a:xfrm>
          <a:prstGeom prst="rect">
            <a:avLst/>
          </a:prstGeom>
        </p:spPr>
        <p:txBody>
          <a:bodyPr vert="horz" lIns="36000" tIns="36000" rIns="36000" bIns="36000" rtlCol="0">
            <a:sp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88899" y="10004"/>
            <a:ext cx="9391520" cy="257369"/>
          </a:xfrm>
          <a:prstGeom prst="rect">
            <a:avLst/>
          </a:prstGeom>
        </p:spPr>
        <p:txBody>
          <a:bodyPr vert="horz" wrap="square" lIns="36000" tIns="36000" rIns="36000" bIns="36000" rtlCol="0" anchor="ctr">
            <a:spAutoFit/>
          </a:bodyPr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r>
              <a:rPr lang="de-DE"/>
              <a:t>Folienmaster der MVI Group                                                                                                                                                     01.09.2016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696400" y="10004"/>
            <a:ext cx="489512" cy="257369"/>
          </a:xfrm>
          <a:prstGeom prst="rect">
            <a:avLst/>
          </a:prstGeom>
        </p:spPr>
        <p:txBody>
          <a:bodyPr vert="horz" wrap="square" lIns="36000" tIns="36000" rIns="36000" bIns="36000" rtlCol="0" anchor="ctr">
            <a:spAutoFit/>
          </a:bodyPr>
          <a:lstStyle>
            <a:lvl1pPr algn="l">
              <a:defRPr sz="1200">
                <a:solidFill>
                  <a:schemeClr val="tx1"/>
                </a:solidFill>
                <a:latin typeface="Source Sans Pro Semibold" pitchFamily="34" charset="0"/>
              </a:defRPr>
            </a:lvl1pPr>
          </a:lstStyle>
          <a:p>
            <a:fld id="{BF930CFF-92E5-45D8-B02D-7D2C24FD84C9}" type="slidenum">
              <a:rPr lang="de-DE" smtClean="0"/>
              <a:pPr/>
              <a:t>‹Nr.›</a:t>
            </a:fld>
            <a:endParaRPr lang="de-DE"/>
          </a:p>
        </p:txBody>
      </p:sp>
      <p:cxnSp>
        <p:nvCxnSpPr>
          <p:cNvPr id="12" name="Gerade Verbindung 11"/>
          <p:cNvCxnSpPr/>
          <p:nvPr/>
        </p:nvCxnSpPr>
        <p:spPr>
          <a:xfrm>
            <a:off x="9650780" y="48687"/>
            <a:ext cx="0" cy="180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Gerade Verbindung 7"/>
          <p:cNvCxnSpPr/>
          <p:nvPr/>
        </p:nvCxnSpPr>
        <p:spPr>
          <a:xfrm>
            <a:off x="9650780" y="48687"/>
            <a:ext cx="0" cy="180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6122" y="178506"/>
            <a:ext cx="880519" cy="6582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80880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696" r:id="rId3"/>
    <p:sldLayoutId id="2147483697" r:id="rId4"/>
    <p:sldLayoutId id="2147483698" r:id="rId5"/>
    <p:sldLayoutId id="2147483699" r:id="rId6"/>
    <p:sldLayoutId id="2147483700" r:id="rId7"/>
    <p:sldLayoutId id="2147483701" r:id="rId8"/>
    <p:sldLayoutId id="2147483702" r:id="rId9"/>
    <p:sldLayoutId id="2147483703" r:id="rId10"/>
  </p:sldLayoutIdLst>
  <p:hf hdr="0" dt="0"/>
  <p:txStyles>
    <p:titleStyle>
      <a:lvl1pPr algn="l" defTabSz="914400" rtl="0" eaLnBrk="1" latinLnBrk="0" hangingPunct="1">
        <a:lnSpc>
          <a:spcPts val="29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0"/>
        </a:spcAft>
        <a:buClr>
          <a:schemeClr val="tx2"/>
        </a:buClr>
        <a:buFontTx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71463" indent="-271463" algn="l" defTabSz="914400" rtl="0" eaLnBrk="1" latinLnBrk="0" hangingPunct="1">
        <a:spcBef>
          <a:spcPts val="0"/>
        </a:spcBef>
        <a:spcAft>
          <a:spcPts val="60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49263" indent="-177800" algn="l" defTabSz="914400" rtl="0" eaLnBrk="1" latinLnBrk="0" hangingPunct="1">
        <a:spcBef>
          <a:spcPts val="0"/>
        </a:spcBef>
        <a:spcAft>
          <a:spcPts val="600"/>
        </a:spcAft>
        <a:buClrTx/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27063" indent="-177800" algn="l" defTabSz="914400" rtl="0" eaLnBrk="1" latinLnBrk="0" hangingPunct="1">
        <a:spcBef>
          <a:spcPts val="0"/>
        </a:spcBef>
        <a:spcAft>
          <a:spcPts val="600"/>
        </a:spcAft>
        <a:buClrTx/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04863" indent="-177800" algn="l" defTabSz="914400" rtl="0" eaLnBrk="1" latinLnBrk="0" hangingPunct="1">
        <a:spcBef>
          <a:spcPts val="0"/>
        </a:spcBef>
        <a:spcAft>
          <a:spcPts val="600"/>
        </a:spcAft>
        <a:buClrTx/>
        <a:buFont typeface="Symbol" panose="05050102010706020507" pitchFamily="18" charset="2"/>
        <a:buChar char="-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3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g"/><Relationship Id="rId3" Type="http://schemas.openxmlformats.org/officeDocument/2006/relationships/hyperlink" Target="mailto:Stefan.Mittermeier@mvi-group.com" TargetMode="External"/><Relationship Id="rId7" Type="http://schemas.openxmlformats.org/officeDocument/2006/relationships/image" Target="../media/image15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microsoft.com/office/2007/relationships/hdphoto" Target="../media/hdphoto1.wdp"/><Relationship Id="rId5" Type="http://schemas.openxmlformats.org/officeDocument/2006/relationships/image" Target="../media/image14.png"/><Relationship Id="rId4" Type="http://schemas.openxmlformats.org/officeDocument/2006/relationships/hyperlink" Target="mailto:Oliver.Kaufmann@mvi-group.com" TargetMode="External"/><Relationship Id="rId9" Type="http://schemas.openxmlformats.org/officeDocument/2006/relationships/hyperlink" Target="mailto:Marius.Krause@mvi-group.com" TargetMode="Externa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png"/><Relationship Id="rId5" Type="http://schemas.openxmlformats.org/officeDocument/2006/relationships/image" Target="../media/image7.jpeg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6" name="think-cell Folie" r:id="rId5" imgW="240" imgH="240" progId="TCLayout.ActiveDocument.1">
                  <p:embed/>
                </p:oleObj>
              </mc:Choice>
              <mc:Fallback>
                <p:oleObj name="think-cell Folie" r:id="rId5" imgW="240" imgH="24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382587" y="2967335"/>
            <a:ext cx="10244009" cy="638507"/>
          </a:xfrm>
        </p:spPr>
        <p:txBody>
          <a:bodyPr/>
          <a:lstStyle/>
          <a:p>
            <a:r>
              <a:rPr lang="de-DE"/>
              <a:t>QUOX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382588" y="2312784"/>
            <a:ext cx="9111359" cy="442035"/>
          </a:xfrm>
        </p:spPr>
        <p:txBody>
          <a:bodyPr/>
          <a:lstStyle/>
          <a:p>
            <a:r>
              <a:rPr lang="de-DE" dirty="0"/>
              <a:t>MVI Group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idx="10"/>
          </p:nvPr>
        </p:nvSpPr>
        <p:spPr>
          <a:xfrm>
            <a:off x="382588" y="3701198"/>
            <a:ext cx="10241822" cy="228369"/>
          </a:xfrm>
        </p:spPr>
        <p:txBody>
          <a:bodyPr/>
          <a:lstStyle/>
          <a:p>
            <a:r>
              <a:rPr lang="de-DE" dirty="0"/>
              <a:t>München, </a:t>
            </a:r>
            <a:fld id="{28476DDB-DE5C-44E3-9BF0-ED213E3610B2}" type="datetime1">
              <a:rPr lang="de-DE" smtClean="0"/>
              <a:t>03.12.201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0655083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el 1"/>
          <p:cNvSpPr txBox="1">
            <a:spLocks/>
          </p:cNvSpPr>
          <p:nvPr/>
        </p:nvSpPr>
        <p:spPr>
          <a:xfrm>
            <a:off x="382588" y="919195"/>
            <a:ext cx="9674225" cy="828000"/>
          </a:xfrm>
          <a:prstGeom prst="rect">
            <a:avLst/>
          </a:prstGeom>
        </p:spPr>
        <p:txBody>
          <a:bodyPr vert="horz" lIns="36000" tIns="36000" rIns="36000" bIns="36000" rtlCol="0" anchor="t">
            <a:noAutofit/>
          </a:bodyPr>
          <a:lstStyle>
            <a:lvl1pPr algn="l" defTabSz="685800" rtl="0" eaLnBrk="1" latinLnBrk="0" hangingPunct="1">
              <a:lnSpc>
                <a:spcPts val="2175"/>
              </a:lnSpc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3200" dirty="0"/>
              <a:t>Ansprechpartner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AE7CC758-8843-4364-9BE1-03FBF6242840}"/>
              </a:ext>
            </a:extLst>
          </p:cNvPr>
          <p:cNvSpPr/>
          <p:nvPr/>
        </p:nvSpPr>
        <p:spPr>
          <a:xfrm>
            <a:off x="4415251" y="3874872"/>
            <a:ext cx="8490857" cy="1811383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>
                <a:solidFill>
                  <a:schemeClr val="tx1"/>
                </a:solidFill>
              </a:rPr>
              <a:t>Dr. Stefan </a:t>
            </a:r>
            <a:r>
              <a:rPr lang="de-DE" dirty="0">
                <a:solidFill>
                  <a:schemeClr val="tx1"/>
                </a:solidFill>
              </a:rPr>
              <a:t>Mittermeier 					Oliver Kaufmann</a:t>
            </a:r>
          </a:p>
          <a:p>
            <a:r>
              <a:rPr lang="de-DE" dirty="0">
                <a:solidFill>
                  <a:schemeClr val="tx1"/>
                </a:solidFill>
              </a:rPr>
              <a:t>Business Development 					Leiter Angebotsmanagement</a:t>
            </a:r>
          </a:p>
          <a:p>
            <a:r>
              <a:rPr lang="de-DE" dirty="0">
                <a:solidFill>
                  <a:schemeClr val="tx1"/>
                </a:solidFill>
              </a:rPr>
              <a:t> </a:t>
            </a:r>
          </a:p>
          <a:p>
            <a:r>
              <a:rPr lang="de-DE" u="sng" dirty="0">
                <a:solidFill>
                  <a:schemeClr val="tx1"/>
                </a:solidFill>
                <a:hlinkClick r:id="rId3"/>
              </a:rPr>
              <a:t>Stefan.Mittermeier@mvi-group.com</a:t>
            </a:r>
            <a:r>
              <a:rPr lang="de-DE" dirty="0">
                <a:solidFill>
                  <a:schemeClr val="tx1"/>
                </a:solidFill>
              </a:rPr>
              <a:t>		</a:t>
            </a:r>
            <a:r>
              <a:rPr lang="de-DE" u="sng" dirty="0">
                <a:solidFill>
                  <a:schemeClr val="tx1"/>
                </a:solidFill>
                <a:hlinkClick r:id="rId4"/>
              </a:rPr>
              <a:t>Oliver.Kaufmann@mvi-group.com</a:t>
            </a:r>
            <a:endParaRPr lang="de-DE" dirty="0">
              <a:solidFill>
                <a:schemeClr val="tx1"/>
              </a:solidFill>
            </a:endParaRPr>
          </a:p>
          <a:p>
            <a:r>
              <a:rPr lang="en-US" dirty="0">
                <a:solidFill>
                  <a:schemeClr val="tx1"/>
                </a:solidFill>
              </a:rPr>
              <a:t>+49 (162) 24 22 04 4					</a:t>
            </a:r>
            <a:r>
              <a:rPr lang="de-DE" dirty="0">
                <a:solidFill>
                  <a:schemeClr val="tx1"/>
                </a:solidFill>
              </a:rPr>
              <a:t>+49 (162) 90 61 53 1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CEDFDCEB-3BD2-4EEA-BEB7-587CAE358A2D}"/>
              </a:ext>
            </a:extLst>
          </p:cNvPr>
          <p:cNvPicPr/>
          <p:nvPr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0059" t="22255" r="13680" b="22923"/>
          <a:stretch/>
        </p:blipFill>
        <p:spPr>
          <a:xfrm>
            <a:off x="9297078" y="2515720"/>
            <a:ext cx="1085850" cy="1031240"/>
          </a:xfrm>
          <a:prstGeom prst="rect">
            <a:avLst/>
          </a:prstGeom>
          <a:noFill/>
          <a:ln>
            <a:noFill/>
          </a:ln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6BD91EFE-2CEA-4E52-8EA0-6858C8202F31}"/>
              </a:ext>
            </a:extLst>
          </p:cNvPr>
          <p:cNvPicPr/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22418" y="2479298"/>
            <a:ext cx="1029970" cy="1029970"/>
          </a:xfrm>
          <a:prstGeom prst="rect">
            <a:avLst/>
          </a:prstGeom>
        </p:spPr>
      </p:pic>
      <p:pic>
        <p:nvPicPr>
          <p:cNvPr id="6" name="Grafik 5" descr="Ein Bild, das Person, Mann, Schlips, Wand enthält.&#10;&#10;Automatisch generierte Beschreibung">
            <a:extLst>
              <a:ext uri="{FF2B5EF4-FFF2-40B4-BE49-F238E27FC236}">
                <a16:creationId xmlns:a16="http://schemas.microsoft.com/office/drawing/2014/main" id="{20B3F42D-B575-4846-AD61-539622A060E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0885" y="2449755"/>
            <a:ext cx="878065" cy="1163171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80938AA4-A1D7-4826-9858-087E96402DB9}"/>
              </a:ext>
            </a:extLst>
          </p:cNvPr>
          <p:cNvSpPr txBox="1"/>
          <p:nvPr/>
        </p:nvSpPr>
        <p:spPr>
          <a:xfrm>
            <a:off x="516483" y="3816374"/>
            <a:ext cx="3575018" cy="1754326"/>
          </a:xfrm>
          <a:prstGeom prst="rect">
            <a:avLst/>
          </a:prstGeom>
          <a:ln w="3175">
            <a:noFill/>
          </a:ln>
        </p:spPr>
        <p:txBody>
          <a:bodyPr wrap="none" rtlCol="0">
            <a:spAutoFit/>
          </a:bodyPr>
          <a:lstStyle/>
          <a:p>
            <a:r>
              <a:rPr lang="de-DE" dirty="0"/>
              <a:t>Marius Krause</a:t>
            </a:r>
          </a:p>
          <a:p>
            <a:r>
              <a:rPr lang="de-DE" dirty="0"/>
              <a:t>Leiter strategische Partnerschaften</a:t>
            </a:r>
          </a:p>
          <a:p>
            <a:endParaRPr lang="de-DE" dirty="0"/>
          </a:p>
          <a:p>
            <a:r>
              <a:rPr lang="de-DE" dirty="0">
                <a:hlinkClick r:id="rId9"/>
              </a:rPr>
              <a:t>Marius.Krause@mvi-group.com</a:t>
            </a:r>
            <a:endParaRPr lang="de-DE" dirty="0"/>
          </a:p>
          <a:p>
            <a:r>
              <a:rPr lang="en-US" dirty="0"/>
              <a:t>+49</a:t>
            </a:r>
            <a:r>
              <a:rPr lang="de-DE" dirty="0"/>
              <a:t> (152) 0 35 28 791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6946668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el 1"/>
          <p:cNvSpPr txBox="1">
            <a:spLocks/>
          </p:cNvSpPr>
          <p:nvPr/>
        </p:nvSpPr>
        <p:spPr>
          <a:xfrm>
            <a:off x="382588" y="919195"/>
            <a:ext cx="9674225" cy="828000"/>
          </a:xfrm>
          <a:prstGeom prst="rect">
            <a:avLst/>
          </a:prstGeom>
        </p:spPr>
        <p:txBody>
          <a:bodyPr vert="horz" lIns="36000" tIns="36000" rIns="36000" bIns="36000" rtlCol="0" anchor="t">
            <a:noAutofit/>
          </a:bodyPr>
          <a:lstStyle>
            <a:lvl1pPr algn="l" defTabSz="685800" rtl="0" eaLnBrk="1" latinLnBrk="0" hangingPunct="1">
              <a:lnSpc>
                <a:spcPts val="2175"/>
              </a:lnSpc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3200" dirty="0"/>
              <a:t>Hintergrund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FB1B323B-1478-44CF-B589-B0AA15B14D51}"/>
              </a:ext>
            </a:extLst>
          </p:cNvPr>
          <p:cNvSpPr txBox="1"/>
          <p:nvPr/>
        </p:nvSpPr>
        <p:spPr>
          <a:xfrm>
            <a:off x="478971" y="1747195"/>
            <a:ext cx="11399520" cy="3385542"/>
          </a:xfrm>
          <a:prstGeom prst="rect">
            <a:avLst/>
          </a:prstGeom>
          <a:ln w="3175">
            <a:noFill/>
          </a:ln>
        </p:spPr>
        <p:txBody>
          <a:bodyPr wrap="square" rtlCol="0">
            <a:spAutoFit/>
          </a:bodyPr>
          <a:lstStyle/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600" dirty="0"/>
              <a:t>Neumayer </a:t>
            </a:r>
            <a:r>
              <a:rPr lang="de-DE" sz="1600" dirty="0" err="1"/>
              <a:t>Tekfor</a:t>
            </a:r>
            <a:r>
              <a:rPr lang="de-DE" sz="1600" dirty="0"/>
              <a:t> Rotenburg GmbH (</a:t>
            </a:r>
            <a:r>
              <a:rPr lang="de-DE" sz="1600" dirty="0" err="1"/>
              <a:t>i.F</a:t>
            </a:r>
            <a:r>
              <a:rPr lang="de-DE" sz="1600" dirty="0"/>
              <a:t>. </a:t>
            </a:r>
            <a:r>
              <a:rPr lang="de-DE" sz="1600" dirty="0" err="1"/>
              <a:t>Tekfor</a:t>
            </a:r>
            <a:r>
              <a:rPr lang="de-DE" sz="1600" dirty="0"/>
              <a:t>) produziert einen Scheuerschutz im Auftrag eines OEM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600" dirty="0"/>
              <a:t>Die Qualitätssicherung wird aktuell visuell erledigt und soll max. 10 Sekunden benötigen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600" dirty="0"/>
              <a:t>Es wird vor allem auf Kratzer geprüft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600" dirty="0" err="1"/>
              <a:t>Tekfor</a:t>
            </a:r>
            <a:r>
              <a:rPr lang="de-DE" sz="1600" dirty="0"/>
              <a:t> versucht diese Vollprüfung zu automatisieren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600" dirty="0"/>
              <a:t>Die Prüfung soll zukünftig an bis zu drei Orten/Parteien stattfinden: </a:t>
            </a:r>
            <a:r>
              <a:rPr lang="de-DE" sz="1600" dirty="0" err="1"/>
              <a:t>Tekfor</a:t>
            </a:r>
            <a:r>
              <a:rPr lang="de-DE" sz="1600" dirty="0"/>
              <a:t>, Externe Veredelung (</a:t>
            </a:r>
            <a:r>
              <a:rPr lang="de-DE" sz="1600" dirty="0" err="1"/>
              <a:t>Eloxierer</a:t>
            </a:r>
            <a:r>
              <a:rPr lang="de-DE" sz="1600" dirty="0"/>
              <a:t>) und OEM (Warenannahme)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Ø"/>
            </a:pPr>
            <a:r>
              <a:rPr lang="de-DE" sz="1600" dirty="0"/>
              <a:t>Modulares (Hardware &amp; Software) Bilderkennungssystem mit Operator-Integration zur Anlernung des neuronalen Netztes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Ø"/>
            </a:pPr>
            <a:r>
              <a:rPr lang="de-DE" sz="1600" dirty="0"/>
              <a:t>Modularität ermöglicht die </a:t>
            </a:r>
            <a:r>
              <a:rPr lang="de-DE" sz="1600" b="1" dirty="0"/>
              <a:t>Anpassung</a:t>
            </a:r>
            <a:r>
              <a:rPr lang="de-DE" sz="1600" dirty="0"/>
              <a:t> des Systems an den konkreten </a:t>
            </a:r>
            <a:r>
              <a:rPr lang="de-DE" sz="1600" b="1" dirty="0"/>
              <a:t>Use Cases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de-DE" sz="1600" dirty="0"/>
          </a:p>
        </p:txBody>
      </p:sp>
    </p:spTree>
    <p:extLst>
      <p:ext uri="{BB962C8B-B14F-4D97-AF65-F5344CB8AC3E}">
        <p14:creationId xmlns:p14="http://schemas.microsoft.com/office/powerpoint/2010/main" val="305603155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el 1"/>
          <p:cNvSpPr txBox="1">
            <a:spLocks/>
          </p:cNvSpPr>
          <p:nvPr/>
        </p:nvSpPr>
        <p:spPr>
          <a:xfrm>
            <a:off x="382588" y="919195"/>
            <a:ext cx="9674225" cy="828000"/>
          </a:xfrm>
          <a:prstGeom prst="rect">
            <a:avLst/>
          </a:prstGeom>
        </p:spPr>
        <p:txBody>
          <a:bodyPr vert="horz" lIns="36000" tIns="36000" rIns="36000" bIns="36000" rtlCol="0" anchor="t">
            <a:noAutofit/>
          </a:bodyPr>
          <a:lstStyle>
            <a:lvl1pPr algn="l" defTabSz="685800" rtl="0" eaLnBrk="1" latinLnBrk="0" hangingPunct="1">
              <a:lnSpc>
                <a:spcPts val="2175"/>
              </a:lnSpc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3200" dirty="0" err="1"/>
              <a:t>Quox</a:t>
            </a:r>
            <a:r>
              <a:rPr lang="de-DE" sz="3200" dirty="0"/>
              <a:t> – Operator Integration</a:t>
            </a:r>
          </a:p>
        </p:txBody>
      </p:sp>
      <p:sp>
        <p:nvSpPr>
          <p:cNvPr id="154" name="Sprechblase: rechteckig 153">
            <a:extLst>
              <a:ext uri="{FF2B5EF4-FFF2-40B4-BE49-F238E27FC236}">
                <a16:creationId xmlns:a16="http://schemas.microsoft.com/office/drawing/2014/main" id="{7C097D48-40FE-4A41-BFF8-DF2E81B70706}"/>
              </a:ext>
            </a:extLst>
          </p:cNvPr>
          <p:cNvSpPr/>
          <p:nvPr/>
        </p:nvSpPr>
        <p:spPr>
          <a:xfrm>
            <a:off x="5274680" y="5017623"/>
            <a:ext cx="4954968" cy="690841"/>
          </a:xfrm>
          <a:prstGeom prst="wedgeRectCallout">
            <a:avLst>
              <a:gd name="adj1" fmla="val -3290"/>
              <a:gd name="adj2" fmla="val -91106"/>
            </a:avLst>
          </a:prstGeom>
          <a:solidFill>
            <a:schemeClr val="accent6">
              <a:lumMod val="90000"/>
              <a:lumOff val="1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1100" dirty="0"/>
              <a:t>Transfer-Learning erlaubt das „Umlernen“ von bestehenden ML-Modellen mit neuen Daten. </a:t>
            </a:r>
            <a:r>
              <a:rPr lang="de-DE" sz="1100" u="sng" dirty="0"/>
              <a:t>Modellbildungszeiten</a:t>
            </a:r>
            <a:r>
              <a:rPr lang="de-DE" sz="1100" dirty="0"/>
              <a:t> können dadurch erheblich reduziert werden: von u.U. Wochen auf Sekunden.</a:t>
            </a:r>
          </a:p>
        </p:txBody>
      </p:sp>
      <p:grpSp>
        <p:nvGrpSpPr>
          <p:cNvPr id="158" name="Gruppieren 157">
            <a:extLst>
              <a:ext uri="{FF2B5EF4-FFF2-40B4-BE49-F238E27FC236}">
                <a16:creationId xmlns:a16="http://schemas.microsoft.com/office/drawing/2014/main" id="{631ACDCB-5F74-4922-B966-C0C8F9C39ECD}"/>
              </a:ext>
            </a:extLst>
          </p:cNvPr>
          <p:cNvGrpSpPr/>
          <p:nvPr/>
        </p:nvGrpSpPr>
        <p:grpSpPr>
          <a:xfrm>
            <a:off x="302366" y="6191794"/>
            <a:ext cx="11663104" cy="463351"/>
            <a:chOff x="302366" y="6098591"/>
            <a:chExt cx="11663104" cy="360000"/>
          </a:xfrm>
        </p:grpSpPr>
        <p:sp>
          <p:nvSpPr>
            <p:cNvPr id="159" name="Textplatzhalter 2">
              <a:extLst>
                <a:ext uri="{FF2B5EF4-FFF2-40B4-BE49-F238E27FC236}">
                  <a16:creationId xmlns:a16="http://schemas.microsoft.com/office/drawing/2014/main" id="{49365DAD-127E-40DB-9F49-9C1B3DFD6ABB}"/>
                </a:ext>
              </a:extLst>
            </p:cNvPr>
            <p:cNvSpPr txBox="1">
              <a:spLocks/>
            </p:cNvSpPr>
            <p:nvPr/>
          </p:nvSpPr>
          <p:spPr>
            <a:xfrm>
              <a:off x="654174" y="6098591"/>
              <a:ext cx="11311296" cy="36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none" lIns="180000" tIns="36000" rIns="36000" bIns="36000" rtlCol="0" anchor="ctr">
              <a:noAutofit/>
            </a:bodyPr>
            <a:lstStyle>
              <a:lvl1pPr marL="0" indent="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Tx/>
                <a:buNone/>
                <a:defRPr sz="1400" b="0" kern="1200" baseline="0">
                  <a:solidFill>
                    <a:schemeClr val="bg1"/>
                  </a:solidFill>
                  <a:latin typeface="Source Sans Pro Semibold" pitchFamily="34" charset="0"/>
                  <a:ea typeface="+mn-ea"/>
                  <a:cs typeface="+mn-cs"/>
                </a:defRPr>
              </a:lvl1pPr>
              <a:lvl2pPr marL="457200" indent="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None/>
                <a:defRPr sz="20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ClrTx/>
                <a:buFont typeface="Symbol" panose="05050102010706020507" pitchFamily="18" charset="2"/>
                <a:buNone/>
                <a:defRPr sz="18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ClrTx/>
                <a:buFont typeface="Symbol" panose="05050102010706020507" pitchFamily="18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ClrTx/>
                <a:buFont typeface="Symbol" panose="05050102010706020507" pitchFamily="18" charset="2"/>
                <a:buNone/>
                <a:tabLst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dirty="0"/>
                <a:t>Der Werker ist beim Anlernen durch die Erkennung unbekannter Fehler involviert: Menschliche Intelligenz wird </a:t>
              </a:r>
              <a:r>
                <a:rPr lang="de-DE"/>
                <a:t>in Künstliche </a:t>
              </a:r>
              <a:r>
                <a:rPr lang="de-DE" dirty="0"/>
                <a:t>überführt.</a:t>
              </a:r>
            </a:p>
          </p:txBody>
        </p:sp>
        <p:sp>
          <p:nvSpPr>
            <p:cNvPr id="160" name="Textplatzhalter 10">
              <a:extLst>
                <a:ext uri="{FF2B5EF4-FFF2-40B4-BE49-F238E27FC236}">
                  <a16:creationId xmlns:a16="http://schemas.microsoft.com/office/drawing/2014/main" id="{1CC3854B-AAFD-4848-8E14-D50D4739AD3D}"/>
                </a:ext>
              </a:extLst>
            </p:cNvPr>
            <p:cNvSpPr txBox="1">
              <a:spLocks/>
            </p:cNvSpPr>
            <p:nvPr/>
          </p:nvSpPr>
          <p:spPr>
            <a:xfrm>
              <a:off x="302366" y="6098591"/>
              <a:ext cx="360000" cy="360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lIns="36000" tIns="36000" rIns="36000" bIns="36000" rtlCol="0" anchor="ctr">
              <a:noAutofit/>
            </a:bodyPr>
            <a:lstStyle>
              <a:lvl1pPr marL="0" indent="0" algn="ctr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Tx/>
                <a:buNone/>
                <a:defRPr sz="1600" b="0" kern="1200">
                  <a:solidFill>
                    <a:schemeClr val="bg1"/>
                  </a:solidFill>
                  <a:latin typeface="Source Sans Pro Semibold" pitchFamily="34" charset="0"/>
                  <a:ea typeface="+mn-ea"/>
                  <a:cs typeface="+mn-cs"/>
                </a:defRPr>
              </a:lvl1pPr>
              <a:lvl2pPr marL="457200" indent="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None/>
                <a:defRPr sz="20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ClrTx/>
                <a:buFont typeface="Symbol" panose="05050102010706020507" pitchFamily="18" charset="2"/>
                <a:buNone/>
                <a:defRPr sz="18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ClrTx/>
                <a:buFont typeface="Symbol" panose="05050102010706020507" pitchFamily="18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ClrTx/>
                <a:buFont typeface="Symbol" panose="05050102010706020507" pitchFamily="18" charset="2"/>
                <a:buNone/>
                <a:tabLst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/>
                <a:t>!</a:t>
              </a:r>
              <a:endParaRPr lang="de-DE" dirty="0"/>
            </a:p>
          </p:txBody>
        </p:sp>
      </p:grpSp>
      <p:sp>
        <p:nvSpPr>
          <p:cNvPr id="32" name="Textfeld 31">
            <a:extLst>
              <a:ext uri="{FF2B5EF4-FFF2-40B4-BE49-F238E27FC236}">
                <a16:creationId xmlns:a16="http://schemas.microsoft.com/office/drawing/2014/main" id="{067178C2-CC26-4F63-9483-37FBEDE39AF0}"/>
              </a:ext>
            </a:extLst>
          </p:cNvPr>
          <p:cNvSpPr txBox="1"/>
          <p:nvPr/>
        </p:nvSpPr>
        <p:spPr>
          <a:xfrm>
            <a:off x="359525" y="3824764"/>
            <a:ext cx="1956947" cy="461665"/>
          </a:xfrm>
          <a:prstGeom prst="rect">
            <a:avLst/>
          </a:prstGeom>
          <a:ln w="3175">
            <a:noFill/>
          </a:ln>
        </p:spPr>
        <p:txBody>
          <a:bodyPr wrap="square" rtlCol="0">
            <a:spAutoFit/>
          </a:bodyPr>
          <a:lstStyle/>
          <a:p>
            <a:r>
              <a:rPr lang="de-DE" sz="1200" dirty="0"/>
              <a:t>Werker legt </a:t>
            </a:r>
            <a:r>
              <a:rPr lang="de-DE" sz="1200" dirty="0" err="1"/>
              <a:t>Prüfteil</a:t>
            </a:r>
            <a:r>
              <a:rPr lang="de-DE" sz="1200" dirty="0"/>
              <a:t> in die Box</a:t>
            </a:r>
          </a:p>
        </p:txBody>
      </p:sp>
      <p:sp>
        <p:nvSpPr>
          <p:cNvPr id="33" name="Rechteck: abgerundete Ecken 32">
            <a:extLst>
              <a:ext uri="{FF2B5EF4-FFF2-40B4-BE49-F238E27FC236}">
                <a16:creationId xmlns:a16="http://schemas.microsoft.com/office/drawing/2014/main" id="{2BAE4376-BDCA-468C-BD9A-13195D82C780}"/>
              </a:ext>
            </a:extLst>
          </p:cNvPr>
          <p:cNvSpPr/>
          <p:nvPr/>
        </p:nvSpPr>
        <p:spPr>
          <a:xfrm>
            <a:off x="269369" y="2500588"/>
            <a:ext cx="2234679" cy="1856823"/>
          </a:xfrm>
          <a:prstGeom prst="roundRect">
            <a:avLst/>
          </a:prstGeom>
          <a:noFill/>
          <a:ln w="190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>
              <a:solidFill>
                <a:schemeClr val="tx1"/>
              </a:solidFill>
            </a:endParaRPr>
          </a:p>
        </p:txBody>
      </p:sp>
      <p:sp>
        <p:nvSpPr>
          <p:cNvPr id="34" name="Rechteck: abgerundete Ecken 33">
            <a:extLst>
              <a:ext uri="{FF2B5EF4-FFF2-40B4-BE49-F238E27FC236}">
                <a16:creationId xmlns:a16="http://schemas.microsoft.com/office/drawing/2014/main" id="{8A88D84D-EA78-436A-9709-6A4F618F3B76}"/>
              </a:ext>
            </a:extLst>
          </p:cNvPr>
          <p:cNvSpPr/>
          <p:nvPr/>
        </p:nvSpPr>
        <p:spPr>
          <a:xfrm>
            <a:off x="363137" y="2587436"/>
            <a:ext cx="180000" cy="180000"/>
          </a:xfrm>
          <a:prstGeom prst="roundRect">
            <a:avLst>
              <a:gd name="adj" fmla="val 30815"/>
            </a:avLst>
          </a:prstGeom>
          <a:solidFill>
            <a:srgbClr val="00B05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9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35" name="Textfeld 34">
            <a:extLst>
              <a:ext uri="{FF2B5EF4-FFF2-40B4-BE49-F238E27FC236}">
                <a16:creationId xmlns:a16="http://schemas.microsoft.com/office/drawing/2014/main" id="{928042B0-C546-4F76-BD9C-9E8AD49EF2B5}"/>
              </a:ext>
            </a:extLst>
          </p:cNvPr>
          <p:cNvSpPr txBox="1"/>
          <p:nvPr/>
        </p:nvSpPr>
        <p:spPr>
          <a:xfrm>
            <a:off x="9798345" y="3824763"/>
            <a:ext cx="1956947" cy="461665"/>
          </a:xfrm>
          <a:prstGeom prst="rect">
            <a:avLst/>
          </a:prstGeom>
          <a:ln w="3175">
            <a:noFill/>
          </a:ln>
        </p:spPr>
        <p:txBody>
          <a:bodyPr wrap="square" rtlCol="0">
            <a:spAutoFit/>
          </a:bodyPr>
          <a:lstStyle/>
          <a:p>
            <a:r>
              <a:rPr lang="de-DE" sz="1200" dirty="0"/>
              <a:t>Bewertungsergebnis im HMI mit Live-Stream</a:t>
            </a:r>
          </a:p>
        </p:txBody>
      </p:sp>
      <p:sp>
        <p:nvSpPr>
          <p:cNvPr id="36" name="Rechteck: abgerundete Ecken 35">
            <a:extLst>
              <a:ext uri="{FF2B5EF4-FFF2-40B4-BE49-F238E27FC236}">
                <a16:creationId xmlns:a16="http://schemas.microsoft.com/office/drawing/2014/main" id="{56C8057B-FE85-472C-82DD-4E71AA67FE66}"/>
              </a:ext>
            </a:extLst>
          </p:cNvPr>
          <p:cNvSpPr/>
          <p:nvPr/>
        </p:nvSpPr>
        <p:spPr>
          <a:xfrm>
            <a:off x="9708189" y="2500588"/>
            <a:ext cx="2234679" cy="1856823"/>
          </a:xfrm>
          <a:prstGeom prst="roundRect">
            <a:avLst/>
          </a:prstGeom>
          <a:noFill/>
          <a:ln w="190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>
              <a:solidFill>
                <a:schemeClr val="tx1"/>
              </a:solidFill>
            </a:endParaRPr>
          </a:p>
        </p:txBody>
      </p:sp>
      <p:sp>
        <p:nvSpPr>
          <p:cNvPr id="37" name="Rechteck: abgerundete Ecken 36">
            <a:extLst>
              <a:ext uri="{FF2B5EF4-FFF2-40B4-BE49-F238E27FC236}">
                <a16:creationId xmlns:a16="http://schemas.microsoft.com/office/drawing/2014/main" id="{A4F1B8E5-1F1F-4484-83C5-66DB6398F2FA}"/>
              </a:ext>
            </a:extLst>
          </p:cNvPr>
          <p:cNvSpPr/>
          <p:nvPr/>
        </p:nvSpPr>
        <p:spPr>
          <a:xfrm>
            <a:off x="9801957" y="2587436"/>
            <a:ext cx="180000" cy="180000"/>
          </a:xfrm>
          <a:prstGeom prst="roundRect">
            <a:avLst>
              <a:gd name="adj" fmla="val 30815"/>
            </a:avLst>
          </a:prstGeom>
          <a:solidFill>
            <a:srgbClr val="00B05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900" dirty="0">
                <a:solidFill>
                  <a:schemeClr val="bg1"/>
                </a:solidFill>
              </a:rPr>
              <a:t>5</a:t>
            </a:r>
          </a:p>
        </p:txBody>
      </p:sp>
      <p:pic>
        <p:nvPicPr>
          <p:cNvPr id="38" name="Grafik 37">
            <a:extLst>
              <a:ext uri="{FF2B5EF4-FFF2-40B4-BE49-F238E27FC236}">
                <a16:creationId xmlns:a16="http://schemas.microsoft.com/office/drawing/2014/main" id="{4EFDEFF7-D55F-40F3-A8A1-7FDC9971C35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6446" y="2709379"/>
            <a:ext cx="975377" cy="975377"/>
          </a:xfrm>
          <a:prstGeom prst="rect">
            <a:avLst/>
          </a:prstGeom>
        </p:spPr>
      </p:pic>
      <p:pic>
        <p:nvPicPr>
          <p:cNvPr id="39" name="Picture 4" descr="Bildergebnis für desktop  icon">
            <a:extLst>
              <a:ext uri="{FF2B5EF4-FFF2-40B4-BE49-F238E27FC236}">
                <a16:creationId xmlns:a16="http://schemas.microsoft.com/office/drawing/2014/main" id="{98164DA3-68A8-4BD7-849B-CDA67CD101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24448" y="2709439"/>
            <a:ext cx="1125639" cy="11256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16" descr="Bildergebnis für haken  icon">
            <a:extLst>
              <a:ext uri="{FF2B5EF4-FFF2-40B4-BE49-F238E27FC236}">
                <a16:creationId xmlns:a16="http://schemas.microsoft.com/office/drawing/2014/main" id="{B45B8751-C65A-47E8-B72C-63F88965C40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051" r="6896"/>
          <a:stretch/>
        </p:blipFill>
        <p:spPr bwMode="auto">
          <a:xfrm>
            <a:off x="10673215" y="2900510"/>
            <a:ext cx="198541" cy="1465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16" descr="Bildergebnis für haken  icon">
            <a:extLst>
              <a:ext uri="{FF2B5EF4-FFF2-40B4-BE49-F238E27FC236}">
                <a16:creationId xmlns:a16="http://schemas.microsoft.com/office/drawing/2014/main" id="{6DA850BA-98AB-499D-94DE-D3F104E76D7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49" r="55278"/>
          <a:stretch/>
        </p:blipFill>
        <p:spPr bwMode="auto">
          <a:xfrm>
            <a:off x="10449660" y="2900510"/>
            <a:ext cx="166758" cy="1541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2" name="Rechteck 41">
            <a:extLst>
              <a:ext uri="{FF2B5EF4-FFF2-40B4-BE49-F238E27FC236}">
                <a16:creationId xmlns:a16="http://schemas.microsoft.com/office/drawing/2014/main" id="{0EE579BA-F04E-4D33-A429-3E1B9CD833E2}"/>
              </a:ext>
            </a:extLst>
          </p:cNvPr>
          <p:cNvSpPr/>
          <p:nvPr/>
        </p:nvSpPr>
        <p:spPr>
          <a:xfrm>
            <a:off x="10887267" y="3063569"/>
            <a:ext cx="454069" cy="237694"/>
          </a:xfrm>
          <a:prstGeom prst="rect">
            <a:avLst/>
          </a:prstGeom>
          <a:solidFill>
            <a:schemeClr val="accent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Live</a:t>
            </a:r>
          </a:p>
        </p:txBody>
      </p:sp>
      <p:sp>
        <p:nvSpPr>
          <p:cNvPr id="43" name="Textfeld 42">
            <a:extLst>
              <a:ext uri="{FF2B5EF4-FFF2-40B4-BE49-F238E27FC236}">
                <a16:creationId xmlns:a16="http://schemas.microsoft.com/office/drawing/2014/main" id="{5F8C034C-A80E-4302-B277-465279FE0998}"/>
              </a:ext>
            </a:extLst>
          </p:cNvPr>
          <p:cNvSpPr txBox="1"/>
          <p:nvPr/>
        </p:nvSpPr>
        <p:spPr>
          <a:xfrm>
            <a:off x="2720778" y="3822106"/>
            <a:ext cx="1956947" cy="461665"/>
          </a:xfrm>
          <a:prstGeom prst="rect">
            <a:avLst/>
          </a:prstGeom>
          <a:ln w="3175">
            <a:noFill/>
          </a:ln>
        </p:spPr>
        <p:txBody>
          <a:bodyPr wrap="square" rtlCol="0">
            <a:spAutoFit/>
          </a:bodyPr>
          <a:lstStyle/>
          <a:p>
            <a:r>
              <a:rPr lang="de-DE" sz="1200" dirty="0"/>
              <a:t>Neue Fehler werden im HMI markiert</a:t>
            </a:r>
          </a:p>
        </p:txBody>
      </p:sp>
      <p:sp>
        <p:nvSpPr>
          <p:cNvPr id="44" name="Rechteck: abgerundete Ecken 43">
            <a:extLst>
              <a:ext uri="{FF2B5EF4-FFF2-40B4-BE49-F238E27FC236}">
                <a16:creationId xmlns:a16="http://schemas.microsoft.com/office/drawing/2014/main" id="{973370F0-A9DA-4180-B2D9-1834AC3316BE}"/>
              </a:ext>
            </a:extLst>
          </p:cNvPr>
          <p:cNvSpPr/>
          <p:nvPr/>
        </p:nvSpPr>
        <p:spPr>
          <a:xfrm>
            <a:off x="2630622" y="2497931"/>
            <a:ext cx="2234679" cy="1856823"/>
          </a:xfrm>
          <a:prstGeom prst="roundRect">
            <a:avLst/>
          </a:prstGeom>
          <a:noFill/>
          <a:ln w="19050">
            <a:solidFill>
              <a:schemeClr val="accent6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>
              <a:solidFill>
                <a:schemeClr val="tx1"/>
              </a:solidFill>
            </a:endParaRPr>
          </a:p>
        </p:txBody>
      </p:sp>
      <p:sp>
        <p:nvSpPr>
          <p:cNvPr id="45" name="Rechteck: abgerundete Ecken 44">
            <a:extLst>
              <a:ext uri="{FF2B5EF4-FFF2-40B4-BE49-F238E27FC236}">
                <a16:creationId xmlns:a16="http://schemas.microsoft.com/office/drawing/2014/main" id="{86C7C22B-DB50-4BF2-9118-BA77285F7718}"/>
              </a:ext>
            </a:extLst>
          </p:cNvPr>
          <p:cNvSpPr/>
          <p:nvPr/>
        </p:nvSpPr>
        <p:spPr>
          <a:xfrm>
            <a:off x="2724390" y="2584779"/>
            <a:ext cx="180000" cy="180000"/>
          </a:xfrm>
          <a:prstGeom prst="roundRect">
            <a:avLst>
              <a:gd name="adj" fmla="val 30815"/>
            </a:avLst>
          </a:prstGeom>
          <a:solidFill>
            <a:schemeClr val="accent6">
              <a:lumMod val="75000"/>
              <a:lumOff val="2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900" dirty="0">
                <a:solidFill>
                  <a:schemeClr val="bg1"/>
                </a:solidFill>
              </a:rPr>
              <a:t>2</a:t>
            </a:r>
          </a:p>
        </p:txBody>
      </p:sp>
      <p:pic>
        <p:nvPicPr>
          <p:cNvPr id="46" name="Picture 4" descr="Bildergebnis für desktop  icon">
            <a:extLst>
              <a:ext uri="{FF2B5EF4-FFF2-40B4-BE49-F238E27FC236}">
                <a16:creationId xmlns:a16="http://schemas.microsoft.com/office/drawing/2014/main" id="{318E8C9C-F9DA-472A-9474-18911D3FCDA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46881" y="2706782"/>
            <a:ext cx="1125639" cy="11256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Rechteck 46">
            <a:extLst>
              <a:ext uri="{FF2B5EF4-FFF2-40B4-BE49-F238E27FC236}">
                <a16:creationId xmlns:a16="http://schemas.microsoft.com/office/drawing/2014/main" id="{FB978CAE-91B7-4EBD-ABEB-C5110BC95A6B}"/>
              </a:ext>
            </a:extLst>
          </p:cNvPr>
          <p:cNvSpPr/>
          <p:nvPr/>
        </p:nvSpPr>
        <p:spPr>
          <a:xfrm>
            <a:off x="3440267" y="2869581"/>
            <a:ext cx="783377" cy="352590"/>
          </a:xfrm>
          <a:prstGeom prst="rect">
            <a:avLst/>
          </a:prstGeom>
          <a:solidFill>
            <a:schemeClr val="accent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Live</a:t>
            </a:r>
          </a:p>
        </p:txBody>
      </p:sp>
      <p:sp>
        <p:nvSpPr>
          <p:cNvPr id="48" name="Textfeld 47">
            <a:extLst>
              <a:ext uri="{FF2B5EF4-FFF2-40B4-BE49-F238E27FC236}">
                <a16:creationId xmlns:a16="http://schemas.microsoft.com/office/drawing/2014/main" id="{88CE24A6-11F0-4478-BD61-418CA29DC506}"/>
              </a:ext>
            </a:extLst>
          </p:cNvPr>
          <p:cNvSpPr txBox="1"/>
          <p:nvPr/>
        </p:nvSpPr>
        <p:spPr>
          <a:xfrm>
            <a:off x="5078935" y="3820163"/>
            <a:ext cx="1956947" cy="461665"/>
          </a:xfrm>
          <a:prstGeom prst="rect">
            <a:avLst/>
          </a:prstGeom>
          <a:ln w="3175">
            <a:noFill/>
          </a:ln>
        </p:spPr>
        <p:txBody>
          <a:bodyPr wrap="square" rtlCol="0">
            <a:spAutoFit/>
          </a:bodyPr>
          <a:lstStyle/>
          <a:p>
            <a:r>
              <a:rPr lang="de-DE" sz="1200" dirty="0"/>
              <a:t>Bilder von neuen Fehlern werden gespeichert</a:t>
            </a:r>
          </a:p>
        </p:txBody>
      </p:sp>
      <p:sp>
        <p:nvSpPr>
          <p:cNvPr id="49" name="Rechteck: abgerundete Ecken 48">
            <a:extLst>
              <a:ext uri="{FF2B5EF4-FFF2-40B4-BE49-F238E27FC236}">
                <a16:creationId xmlns:a16="http://schemas.microsoft.com/office/drawing/2014/main" id="{6782BA9C-6C44-4D09-8EC6-4B3376AB2A07}"/>
              </a:ext>
            </a:extLst>
          </p:cNvPr>
          <p:cNvSpPr/>
          <p:nvPr/>
        </p:nvSpPr>
        <p:spPr>
          <a:xfrm>
            <a:off x="4988779" y="2495988"/>
            <a:ext cx="2234679" cy="1856823"/>
          </a:xfrm>
          <a:prstGeom prst="roundRect">
            <a:avLst/>
          </a:prstGeom>
          <a:noFill/>
          <a:ln w="19050">
            <a:solidFill>
              <a:schemeClr val="accent6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>
              <a:solidFill>
                <a:schemeClr val="tx1"/>
              </a:solidFill>
            </a:endParaRPr>
          </a:p>
        </p:txBody>
      </p:sp>
      <p:sp>
        <p:nvSpPr>
          <p:cNvPr id="50" name="Rechteck: abgerundete Ecken 49">
            <a:extLst>
              <a:ext uri="{FF2B5EF4-FFF2-40B4-BE49-F238E27FC236}">
                <a16:creationId xmlns:a16="http://schemas.microsoft.com/office/drawing/2014/main" id="{84CEC1A0-FF11-4ACD-AE66-3395C678DBD6}"/>
              </a:ext>
            </a:extLst>
          </p:cNvPr>
          <p:cNvSpPr/>
          <p:nvPr/>
        </p:nvSpPr>
        <p:spPr>
          <a:xfrm>
            <a:off x="5082547" y="2582836"/>
            <a:ext cx="180000" cy="180000"/>
          </a:xfrm>
          <a:prstGeom prst="roundRect">
            <a:avLst>
              <a:gd name="adj" fmla="val 30815"/>
            </a:avLst>
          </a:prstGeom>
          <a:solidFill>
            <a:schemeClr val="accent6">
              <a:lumMod val="75000"/>
              <a:lumOff val="2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900" dirty="0">
                <a:solidFill>
                  <a:schemeClr val="bg1"/>
                </a:solidFill>
              </a:rPr>
              <a:t>3</a:t>
            </a:r>
          </a:p>
        </p:txBody>
      </p:sp>
      <p:pic>
        <p:nvPicPr>
          <p:cNvPr id="51" name="Picture 8" descr="Ähnliches Foto">
            <a:extLst>
              <a:ext uri="{FF2B5EF4-FFF2-40B4-BE49-F238E27FC236}">
                <a16:creationId xmlns:a16="http://schemas.microsoft.com/office/drawing/2014/main" id="{76D93C2E-C39B-496D-B8BC-57E058569A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66318" y="2782371"/>
            <a:ext cx="879599" cy="8795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2" name="Textfeld 51">
            <a:extLst>
              <a:ext uri="{FF2B5EF4-FFF2-40B4-BE49-F238E27FC236}">
                <a16:creationId xmlns:a16="http://schemas.microsoft.com/office/drawing/2014/main" id="{B2C5982E-B591-44D7-9946-EBC900573470}"/>
              </a:ext>
            </a:extLst>
          </p:cNvPr>
          <p:cNvSpPr txBox="1"/>
          <p:nvPr/>
        </p:nvSpPr>
        <p:spPr>
          <a:xfrm>
            <a:off x="7381522" y="3813628"/>
            <a:ext cx="2234679" cy="461665"/>
          </a:xfrm>
          <a:prstGeom prst="rect">
            <a:avLst/>
          </a:prstGeom>
          <a:ln w="3175">
            <a:noFill/>
          </a:ln>
        </p:spPr>
        <p:txBody>
          <a:bodyPr wrap="square" rtlCol="0">
            <a:spAutoFit/>
          </a:bodyPr>
          <a:lstStyle/>
          <a:p>
            <a:r>
              <a:rPr lang="de-DE" sz="1200" dirty="0"/>
              <a:t>Neuronales Netz wird mit neuen Fehlerbildern umgelernt </a:t>
            </a:r>
          </a:p>
        </p:txBody>
      </p:sp>
      <p:sp>
        <p:nvSpPr>
          <p:cNvPr id="53" name="Rechteck: abgerundete Ecken 52">
            <a:extLst>
              <a:ext uri="{FF2B5EF4-FFF2-40B4-BE49-F238E27FC236}">
                <a16:creationId xmlns:a16="http://schemas.microsoft.com/office/drawing/2014/main" id="{B7739AB2-A5AA-4CF1-AAD2-8D6BA95A5C00}"/>
              </a:ext>
            </a:extLst>
          </p:cNvPr>
          <p:cNvSpPr/>
          <p:nvPr/>
        </p:nvSpPr>
        <p:spPr>
          <a:xfrm>
            <a:off x="7352328" y="2489453"/>
            <a:ext cx="2234679" cy="1856823"/>
          </a:xfrm>
          <a:prstGeom prst="roundRect">
            <a:avLst/>
          </a:prstGeom>
          <a:noFill/>
          <a:ln w="19050">
            <a:solidFill>
              <a:schemeClr val="accent6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>
              <a:solidFill>
                <a:schemeClr val="tx1"/>
              </a:solidFill>
            </a:endParaRPr>
          </a:p>
        </p:txBody>
      </p:sp>
      <p:sp>
        <p:nvSpPr>
          <p:cNvPr id="54" name="Rechteck: abgerundete Ecken 53">
            <a:extLst>
              <a:ext uri="{FF2B5EF4-FFF2-40B4-BE49-F238E27FC236}">
                <a16:creationId xmlns:a16="http://schemas.microsoft.com/office/drawing/2014/main" id="{A9D69DE8-F4FC-42E2-BB3A-65756B6D7F1C}"/>
              </a:ext>
            </a:extLst>
          </p:cNvPr>
          <p:cNvSpPr/>
          <p:nvPr/>
        </p:nvSpPr>
        <p:spPr>
          <a:xfrm>
            <a:off x="7446096" y="2576301"/>
            <a:ext cx="180000" cy="180000"/>
          </a:xfrm>
          <a:prstGeom prst="roundRect">
            <a:avLst>
              <a:gd name="adj" fmla="val 30815"/>
            </a:avLst>
          </a:prstGeom>
          <a:solidFill>
            <a:schemeClr val="accent6">
              <a:lumMod val="75000"/>
              <a:lumOff val="2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900" dirty="0">
                <a:solidFill>
                  <a:schemeClr val="bg1"/>
                </a:solidFill>
              </a:rPr>
              <a:t>4</a:t>
            </a:r>
          </a:p>
        </p:txBody>
      </p:sp>
      <p:pic>
        <p:nvPicPr>
          <p:cNvPr id="55" name="Picture 2" descr="Bildergebnis für nvidia  icon">
            <a:extLst>
              <a:ext uri="{FF2B5EF4-FFF2-40B4-BE49-F238E27FC236}">
                <a16:creationId xmlns:a16="http://schemas.microsoft.com/office/drawing/2014/main" id="{DA64C684-804C-48FF-9D53-E31911BCAF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35676" y="2726142"/>
            <a:ext cx="570469" cy="5704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" name="Picture 2" descr="Bildergebnis fÃ¼r tensorflow icon">
            <a:extLst>
              <a:ext uri="{FF2B5EF4-FFF2-40B4-BE49-F238E27FC236}">
                <a16:creationId xmlns:a16="http://schemas.microsoft.com/office/drawing/2014/main" id="{7FDF4539-36C8-4D88-BAEC-E8F0FB3B5A9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667" t="36106" r="12172" b="36460"/>
          <a:stretch/>
        </p:blipFill>
        <p:spPr bwMode="auto">
          <a:xfrm>
            <a:off x="8023942" y="3409923"/>
            <a:ext cx="1014028" cy="2467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9730744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4" name="Rechteck: abgerundete Ecken 253">
            <a:extLst>
              <a:ext uri="{FF2B5EF4-FFF2-40B4-BE49-F238E27FC236}">
                <a16:creationId xmlns:a16="http://schemas.microsoft.com/office/drawing/2014/main" id="{CAB5AEDE-8FAF-4B3B-B6C0-3EEC90045BFD}"/>
              </a:ext>
            </a:extLst>
          </p:cNvPr>
          <p:cNvSpPr/>
          <p:nvPr/>
        </p:nvSpPr>
        <p:spPr>
          <a:xfrm>
            <a:off x="7268629" y="3122602"/>
            <a:ext cx="898489" cy="621506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>
              <a:solidFill>
                <a:schemeClr val="tx1"/>
              </a:solidFill>
            </a:endParaRPr>
          </a:p>
        </p:txBody>
      </p:sp>
      <p:sp>
        <p:nvSpPr>
          <p:cNvPr id="255" name="Ellipse 254">
            <a:extLst>
              <a:ext uri="{FF2B5EF4-FFF2-40B4-BE49-F238E27FC236}">
                <a16:creationId xmlns:a16="http://schemas.microsoft.com/office/drawing/2014/main" id="{6EA87FB0-59E6-4247-9153-E75CB544CA77}"/>
              </a:ext>
            </a:extLst>
          </p:cNvPr>
          <p:cNvSpPr/>
          <p:nvPr/>
        </p:nvSpPr>
        <p:spPr>
          <a:xfrm>
            <a:off x="7493534" y="3209897"/>
            <a:ext cx="432000" cy="432000"/>
          </a:xfrm>
          <a:prstGeom prst="ellipse">
            <a:avLst/>
          </a:prstGeom>
          <a:solidFill>
            <a:schemeClr val="tx1"/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>
              <a:solidFill>
                <a:schemeClr val="tx1"/>
              </a:solidFill>
            </a:endParaRPr>
          </a:p>
        </p:txBody>
      </p:sp>
      <p:sp>
        <p:nvSpPr>
          <p:cNvPr id="252" name="Rechteck: abgerundete Ecken 251">
            <a:extLst>
              <a:ext uri="{FF2B5EF4-FFF2-40B4-BE49-F238E27FC236}">
                <a16:creationId xmlns:a16="http://schemas.microsoft.com/office/drawing/2014/main" id="{29A436D2-47E6-4596-9D76-01AA4F1A0AC9}"/>
              </a:ext>
            </a:extLst>
          </p:cNvPr>
          <p:cNvSpPr/>
          <p:nvPr/>
        </p:nvSpPr>
        <p:spPr>
          <a:xfrm>
            <a:off x="7116396" y="3253251"/>
            <a:ext cx="898489" cy="621506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>
              <a:solidFill>
                <a:schemeClr val="tx1"/>
              </a:solidFill>
            </a:endParaRPr>
          </a:p>
        </p:txBody>
      </p:sp>
      <p:sp>
        <p:nvSpPr>
          <p:cNvPr id="253" name="Ellipse 252">
            <a:extLst>
              <a:ext uri="{FF2B5EF4-FFF2-40B4-BE49-F238E27FC236}">
                <a16:creationId xmlns:a16="http://schemas.microsoft.com/office/drawing/2014/main" id="{1A9D4B2B-8CC0-49D5-8BD0-54F58CA28EF8}"/>
              </a:ext>
            </a:extLst>
          </p:cNvPr>
          <p:cNvSpPr/>
          <p:nvPr/>
        </p:nvSpPr>
        <p:spPr>
          <a:xfrm>
            <a:off x="7341301" y="3340546"/>
            <a:ext cx="432000" cy="432000"/>
          </a:xfrm>
          <a:prstGeom prst="ellipse">
            <a:avLst/>
          </a:prstGeom>
          <a:solidFill>
            <a:schemeClr val="tx1"/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>
              <a:solidFill>
                <a:schemeClr val="tx1"/>
              </a:solidFill>
            </a:endParaRPr>
          </a:p>
        </p:txBody>
      </p:sp>
      <p:sp>
        <p:nvSpPr>
          <p:cNvPr id="197" name="Rechteck: abgerundete Ecken 196">
            <a:extLst>
              <a:ext uri="{FF2B5EF4-FFF2-40B4-BE49-F238E27FC236}">
                <a16:creationId xmlns:a16="http://schemas.microsoft.com/office/drawing/2014/main" id="{EB61AA5E-43F7-49EC-A2A3-6C91EEE5F19D}"/>
              </a:ext>
            </a:extLst>
          </p:cNvPr>
          <p:cNvSpPr/>
          <p:nvPr/>
        </p:nvSpPr>
        <p:spPr>
          <a:xfrm>
            <a:off x="6990950" y="3422583"/>
            <a:ext cx="898489" cy="621506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>
              <a:solidFill>
                <a:schemeClr val="tx1"/>
              </a:solidFill>
            </a:endParaRPr>
          </a:p>
        </p:txBody>
      </p:sp>
      <p:sp>
        <p:nvSpPr>
          <p:cNvPr id="19" name="Titel 1"/>
          <p:cNvSpPr txBox="1">
            <a:spLocks/>
          </p:cNvSpPr>
          <p:nvPr/>
        </p:nvSpPr>
        <p:spPr>
          <a:xfrm>
            <a:off x="382588" y="919195"/>
            <a:ext cx="9674225" cy="828000"/>
          </a:xfrm>
          <a:prstGeom prst="rect">
            <a:avLst/>
          </a:prstGeom>
        </p:spPr>
        <p:txBody>
          <a:bodyPr vert="horz" lIns="36000" tIns="36000" rIns="36000" bIns="36000" rtlCol="0" anchor="t">
            <a:noAutofit/>
          </a:bodyPr>
          <a:lstStyle>
            <a:lvl1pPr algn="l" defTabSz="685800" rtl="0" eaLnBrk="1" latinLnBrk="0" hangingPunct="1">
              <a:lnSpc>
                <a:spcPts val="2175"/>
              </a:lnSpc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3200" dirty="0" err="1"/>
              <a:t>Quox</a:t>
            </a:r>
            <a:r>
              <a:rPr lang="de-DE" sz="3200" dirty="0"/>
              <a:t> – Modularität</a:t>
            </a:r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1B6C7223-4859-49D4-B3EF-7E6D1042252B}"/>
              </a:ext>
            </a:extLst>
          </p:cNvPr>
          <p:cNvGrpSpPr/>
          <p:nvPr/>
        </p:nvGrpSpPr>
        <p:grpSpPr>
          <a:xfrm>
            <a:off x="1213890" y="5543005"/>
            <a:ext cx="2681210" cy="288000"/>
            <a:chOff x="654173" y="5421087"/>
            <a:chExt cx="2681210" cy="288000"/>
          </a:xfrm>
        </p:grpSpPr>
        <p:sp>
          <p:nvSpPr>
            <p:cNvPr id="2" name="Ellipse 1">
              <a:extLst>
                <a:ext uri="{FF2B5EF4-FFF2-40B4-BE49-F238E27FC236}">
                  <a16:creationId xmlns:a16="http://schemas.microsoft.com/office/drawing/2014/main" id="{57364501-3FBB-4148-B68C-B7DBBEDE7AF6}"/>
                </a:ext>
              </a:extLst>
            </p:cNvPr>
            <p:cNvSpPr/>
            <p:nvPr/>
          </p:nvSpPr>
          <p:spPr>
            <a:xfrm>
              <a:off x="654173" y="5421087"/>
              <a:ext cx="288000" cy="288000"/>
            </a:xfrm>
            <a:prstGeom prst="ellipse">
              <a:avLst/>
            </a:prstGeom>
            <a:solidFill>
              <a:srgbClr val="00B050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>
                <a:solidFill>
                  <a:schemeClr val="tx1"/>
                </a:solidFill>
              </a:endParaRPr>
            </a:p>
          </p:txBody>
        </p:sp>
        <p:sp>
          <p:nvSpPr>
            <p:cNvPr id="5" name="Textfeld 4">
              <a:extLst>
                <a:ext uri="{FF2B5EF4-FFF2-40B4-BE49-F238E27FC236}">
                  <a16:creationId xmlns:a16="http://schemas.microsoft.com/office/drawing/2014/main" id="{DFFBFD78-CDCE-4D7E-8638-6C32E879925B}"/>
                </a:ext>
              </a:extLst>
            </p:cNvPr>
            <p:cNvSpPr txBox="1"/>
            <p:nvPr/>
          </p:nvSpPr>
          <p:spPr>
            <a:xfrm>
              <a:off x="995041" y="5426588"/>
              <a:ext cx="2340342" cy="276999"/>
            </a:xfrm>
            <a:prstGeom prst="rect">
              <a:avLst/>
            </a:prstGeom>
            <a:ln w="3175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de-DE" sz="1200" dirty="0"/>
                <a:t>Real-Time Streaming Analytics</a:t>
              </a:r>
            </a:p>
          </p:txBody>
        </p:sp>
      </p:grpSp>
      <p:grpSp>
        <p:nvGrpSpPr>
          <p:cNvPr id="35" name="Gruppieren 34">
            <a:extLst>
              <a:ext uri="{FF2B5EF4-FFF2-40B4-BE49-F238E27FC236}">
                <a16:creationId xmlns:a16="http://schemas.microsoft.com/office/drawing/2014/main" id="{DCD93C25-9407-408F-AC8A-4FD46ABEF4A6}"/>
              </a:ext>
            </a:extLst>
          </p:cNvPr>
          <p:cNvGrpSpPr/>
          <p:nvPr/>
        </p:nvGrpSpPr>
        <p:grpSpPr>
          <a:xfrm>
            <a:off x="3895100" y="5537505"/>
            <a:ext cx="2972946" cy="288000"/>
            <a:chOff x="654173" y="5421087"/>
            <a:chExt cx="2972946" cy="288000"/>
          </a:xfrm>
        </p:grpSpPr>
        <p:sp>
          <p:nvSpPr>
            <p:cNvPr id="36" name="Ellipse 35">
              <a:extLst>
                <a:ext uri="{FF2B5EF4-FFF2-40B4-BE49-F238E27FC236}">
                  <a16:creationId xmlns:a16="http://schemas.microsoft.com/office/drawing/2014/main" id="{CCF1B0BE-64A4-42CB-B9D7-5E84987BEEB7}"/>
                </a:ext>
              </a:extLst>
            </p:cNvPr>
            <p:cNvSpPr/>
            <p:nvPr/>
          </p:nvSpPr>
          <p:spPr>
            <a:xfrm>
              <a:off x="654173" y="5421087"/>
              <a:ext cx="288000" cy="288000"/>
            </a:xfrm>
            <a:prstGeom prst="ellipse">
              <a:avLst/>
            </a:prstGeom>
            <a:solidFill>
              <a:srgbClr val="D40E3A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>
                <a:solidFill>
                  <a:schemeClr val="tx1"/>
                </a:solidFill>
              </a:endParaRPr>
            </a:p>
          </p:txBody>
        </p:sp>
        <p:sp>
          <p:nvSpPr>
            <p:cNvPr id="37" name="Textfeld 36">
              <a:extLst>
                <a:ext uri="{FF2B5EF4-FFF2-40B4-BE49-F238E27FC236}">
                  <a16:creationId xmlns:a16="http://schemas.microsoft.com/office/drawing/2014/main" id="{A604D64B-DBA7-4912-BA49-CD6BF70357B3}"/>
                </a:ext>
              </a:extLst>
            </p:cNvPr>
            <p:cNvSpPr txBox="1"/>
            <p:nvPr/>
          </p:nvSpPr>
          <p:spPr>
            <a:xfrm>
              <a:off x="995040" y="5426588"/>
              <a:ext cx="2632079" cy="276999"/>
            </a:xfrm>
            <a:prstGeom prst="rect">
              <a:avLst/>
            </a:prstGeom>
            <a:ln w="3175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de-DE" sz="1200" dirty="0"/>
                <a:t>Modell Training/Transfer Learning</a:t>
              </a:r>
            </a:p>
          </p:txBody>
        </p:sp>
      </p:grp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474F225C-5CEC-44D9-AF59-48D71D52AE27}"/>
              </a:ext>
            </a:extLst>
          </p:cNvPr>
          <p:cNvGrpSpPr/>
          <p:nvPr/>
        </p:nvGrpSpPr>
        <p:grpSpPr>
          <a:xfrm>
            <a:off x="8152257" y="5537505"/>
            <a:ext cx="1200754" cy="288000"/>
            <a:chOff x="654173" y="5421087"/>
            <a:chExt cx="1200754" cy="288000"/>
          </a:xfrm>
        </p:grpSpPr>
        <p:sp>
          <p:nvSpPr>
            <p:cNvPr id="39" name="Ellipse 38">
              <a:extLst>
                <a:ext uri="{FF2B5EF4-FFF2-40B4-BE49-F238E27FC236}">
                  <a16:creationId xmlns:a16="http://schemas.microsoft.com/office/drawing/2014/main" id="{6D20FED0-D813-4C11-94F9-F53066923F94}"/>
                </a:ext>
              </a:extLst>
            </p:cNvPr>
            <p:cNvSpPr/>
            <p:nvPr/>
          </p:nvSpPr>
          <p:spPr>
            <a:xfrm>
              <a:off x="654173" y="5421087"/>
              <a:ext cx="288000" cy="288000"/>
            </a:xfrm>
            <a:prstGeom prst="ellipse">
              <a:avLst/>
            </a:prstGeom>
            <a:solidFill>
              <a:srgbClr val="0A4B9B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>
                <a:solidFill>
                  <a:schemeClr val="tx1"/>
                </a:solidFill>
              </a:endParaRPr>
            </a:p>
          </p:txBody>
        </p:sp>
        <p:sp>
          <p:nvSpPr>
            <p:cNvPr id="40" name="Textfeld 39">
              <a:extLst>
                <a:ext uri="{FF2B5EF4-FFF2-40B4-BE49-F238E27FC236}">
                  <a16:creationId xmlns:a16="http://schemas.microsoft.com/office/drawing/2014/main" id="{EDE918A6-D153-4F3D-95A6-D674FD19E5FD}"/>
                </a:ext>
              </a:extLst>
            </p:cNvPr>
            <p:cNvSpPr txBox="1"/>
            <p:nvPr/>
          </p:nvSpPr>
          <p:spPr>
            <a:xfrm>
              <a:off x="995041" y="5426588"/>
              <a:ext cx="859886" cy="276999"/>
            </a:xfrm>
            <a:prstGeom prst="rect">
              <a:avLst/>
            </a:prstGeom>
            <a:ln w="3175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de-DE" sz="1200" dirty="0"/>
                <a:t>HMI</a:t>
              </a:r>
            </a:p>
          </p:txBody>
        </p:sp>
      </p:grpSp>
      <p:grpSp>
        <p:nvGrpSpPr>
          <p:cNvPr id="41" name="Gruppieren 40">
            <a:extLst>
              <a:ext uri="{FF2B5EF4-FFF2-40B4-BE49-F238E27FC236}">
                <a16:creationId xmlns:a16="http://schemas.microsoft.com/office/drawing/2014/main" id="{500D3E19-8337-4118-AD1D-1DA3A57EF9A7}"/>
              </a:ext>
            </a:extLst>
          </p:cNvPr>
          <p:cNvGrpSpPr/>
          <p:nvPr/>
        </p:nvGrpSpPr>
        <p:grpSpPr>
          <a:xfrm>
            <a:off x="6782596" y="5532005"/>
            <a:ext cx="1083756" cy="288000"/>
            <a:chOff x="654173" y="5421087"/>
            <a:chExt cx="1083756" cy="288000"/>
          </a:xfrm>
        </p:grpSpPr>
        <p:sp>
          <p:nvSpPr>
            <p:cNvPr id="42" name="Ellipse 41">
              <a:extLst>
                <a:ext uri="{FF2B5EF4-FFF2-40B4-BE49-F238E27FC236}">
                  <a16:creationId xmlns:a16="http://schemas.microsoft.com/office/drawing/2014/main" id="{B2209434-F62B-4D81-8315-91A96E250309}"/>
                </a:ext>
              </a:extLst>
            </p:cNvPr>
            <p:cNvSpPr/>
            <p:nvPr/>
          </p:nvSpPr>
          <p:spPr>
            <a:xfrm>
              <a:off x="654173" y="5421087"/>
              <a:ext cx="288000" cy="288000"/>
            </a:xfrm>
            <a:prstGeom prst="ellipse">
              <a:avLst/>
            </a:prstGeom>
            <a:solidFill>
              <a:schemeClr val="tx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>
                <a:solidFill>
                  <a:schemeClr val="tx1"/>
                </a:solidFill>
              </a:endParaRPr>
            </a:p>
          </p:txBody>
        </p:sp>
        <p:sp>
          <p:nvSpPr>
            <p:cNvPr id="44" name="Textfeld 43">
              <a:extLst>
                <a:ext uri="{FF2B5EF4-FFF2-40B4-BE49-F238E27FC236}">
                  <a16:creationId xmlns:a16="http://schemas.microsoft.com/office/drawing/2014/main" id="{6DE5A52E-E8B0-4F87-BB20-77E2D79F6693}"/>
                </a:ext>
              </a:extLst>
            </p:cNvPr>
            <p:cNvSpPr txBox="1"/>
            <p:nvPr/>
          </p:nvSpPr>
          <p:spPr>
            <a:xfrm>
              <a:off x="995041" y="5426588"/>
              <a:ext cx="742888" cy="276999"/>
            </a:xfrm>
            <a:prstGeom prst="rect">
              <a:avLst/>
            </a:prstGeom>
            <a:ln w="3175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de-DE" sz="1200" dirty="0"/>
                <a:t>Kamera</a:t>
              </a:r>
            </a:p>
          </p:txBody>
        </p:sp>
      </p:grpSp>
      <p:sp>
        <p:nvSpPr>
          <p:cNvPr id="55" name="Ellipse 54">
            <a:extLst>
              <a:ext uri="{FF2B5EF4-FFF2-40B4-BE49-F238E27FC236}">
                <a16:creationId xmlns:a16="http://schemas.microsoft.com/office/drawing/2014/main" id="{1B27B289-7E6B-4A7F-BE46-EAD9149D9D36}"/>
              </a:ext>
            </a:extLst>
          </p:cNvPr>
          <p:cNvSpPr/>
          <p:nvPr/>
        </p:nvSpPr>
        <p:spPr>
          <a:xfrm>
            <a:off x="2650381" y="3255042"/>
            <a:ext cx="432000" cy="432000"/>
          </a:xfrm>
          <a:prstGeom prst="ellipse">
            <a:avLst/>
          </a:prstGeom>
          <a:solidFill>
            <a:schemeClr val="tx1"/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>
              <a:solidFill>
                <a:schemeClr val="tx1"/>
              </a:solidFill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8F8636D2-6B7F-48E9-8A1C-38FAD9E7997C}"/>
              </a:ext>
            </a:extLst>
          </p:cNvPr>
          <p:cNvGrpSpPr/>
          <p:nvPr/>
        </p:nvGrpSpPr>
        <p:grpSpPr>
          <a:xfrm>
            <a:off x="9505549" y="5526505"/>
            <a:ext cx="1159009" cy="288000"/>
            <a:chOff x="8808859" y="6214484"/>
            <a:chExt cx="1159009" cy="288000"/>
          </a:xfrm>
        </p:grpSpPr>
        <p:sp>
          <p:nvSpPr>
            <p:cNvPr id="54" name="Textfeld 53">
              <a:extLst>
                <a:ext uri="{FF2B5EF4-FFF2-40B4-BE49-F238E27FC236}">
                  <a16:creationId xmlns:a16="http://schemas.microsoft.com/office/drawing/2014/main" id="{3F2154CE-D612-420C-9A8C-DEFC45A393B0}"/>
                </a:ext>
              </a:extLst>
            </p:cNvPr>
            <p:cNvSpPr txBox="1"/>
            <p:nvPr/>
          </p:nvSpPr>
          <p:spPr>
            <a:xfrm>
              <a:off x="9107983" y="6225485"/>
              <a:ext cx="859885" cy="276999"/>
            </a:xfrm>
            <a:prstGeom prst="rect">
              <a:avLst/>
            </a:prstGeom>
            <a:ln w="3175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de-DE" sz="1200" dirty="0"/>
                <a:t>Hardware</a:t>
              </a:r>
            </a:p>
          </p:txBody>
        </p:sp>
        <p:sp>
          <p:nvSpPr>
            <p:cNvPr id="7" name="Rechteck: abgerundete Ecken 6">
              <a:extLst>
                <a:ext uri="{FF2B5EF4-FFF2-40B4-BE49-F238E27FC236}">
                  <a16:creationId xmlns:a16="http://schemas.microsoft.com/office/drawing/2014/main" id="{22D45E7C-7C7C-4AC8-92A9-4D1FB675AA44}"/>
                </a:ext>
              </a:extLst>
            </p:cNvPr>
            <p:cNvSpPr/>
            <p:nvPr/>
          </p:nvSpPr>
          <p:spPr>
            <a:xfrm>
              <a:off x="8808859" y="6214484"/>
              <a:ext cx="288000" cy="288000"/>
            </a:xfrm>
            <a:prstGeom prst="roundRect">
              <a:avLst/>
            </a:prstGeom>
            <a:noFill/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>
                <a:solidFill>
                  <a:schemeClr val="tx1"/>
                </a:solidFill>
              </a:endParaRPr>
            </a:p>
          </p:txBody>
        </p:sp>
      </p:grpSp>
      <p:sp>
        <p:nvSpPr>
          <p:cNvPr id="60" name="Rechteck: abgerundete Ecken 59">
            <a:extLst>
              <a:ext uri="{FF2B5EF4-FFF2-40B4-BE49-F238E27FC236}">
                <a16:creationId xmlns:a16="http://schemas.microsoft.com/office/drawing/2014/main" id="{A5FAB270-7469-4C6E-90A5-45F89810F94C}"/>
              </a:ext>
            </a:extLst>
          </p:cNvPr>
          <p:cNvSpPr/>
          <p:nvPr/>
        </p:nvSpPr>
        <p:spPr>
          <a:xfrm>
            <a:off x="2512300" y="3119088"/>
            <a:ext cx="1558834" cy="1524000"/>
          </a:xfrm>
          <a:prstGeom prst="round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>
              <a:solidFill>
                <a:schemeClr val="tx1"/>
              </a:solidFill>
            </a:endParaRPr>
          </a:p>
        </p:txBody>
      </p:sp>
      <p:sp>
        <p:nvSpPr>
          <p:cNvPr id="61" name="Ellipse 60">
            <a:extLst>
              <a:ext uri="{FF2B5EF4-FFF2-40B4-BE49-F238E27FC236}">
                <a16:creationId xmlns:a16="http://schemas.microsoft.com/office/drawing/2014/main" id="{2530EF0B-A868-431C-80E6-4F8AEA924B57}"/>
              </a:ext>
            </a:extLst>
          </p:cNvPr>
          <p:cNvSpPr/>
          <p:nvPr/>
        </p:nvSpPr>
        <p:spPr>
          <a:xfrm>
            <a:off x="3482049" y="3259467"/>
            <a:ext cx="432000" cy="432000"/>
          </a:xfrm>
          <a:prstGeom prst="ellipse">
            <a:avLst/>
          </a:prstGeom>
          <a:solidFill>
            <a:srgbClr val="0A4B9B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>
              <a:solidFill>
                <a:schemeClr val="tx1"/>
              </a:solidFill>
            </a:endParaRPr>
          </a:p>
        </p:txBody>
      </p:sp>
      <p:sp>
        <p:nvSpPr>
          <p:cNvPr id="62" name="Ellipse 61">
            <a:extLst>
              <a:ext uri="{FF2B5EF4-FFF2-40B4-BE49-F238E27FC236}">
                <a16:creationId xmlns:a16="http://schemas.microsoft.com/office/drawing/2014/main" id="{37FC8A18-4F98-4566-A7FA-F13AFFEA411A}"/>
              </a:ext>
            </a:extLst>
          </p:cNvPr>
          <p:cNvSpPr/>
          <p:nvPr/>
        </p:nvSpPr>
        <p:spPr>
          <a:xfrm>
            <a:off x="2650381" y="4073718"/>
            <a:ext cx="432000" cy="432000"/>
          </a:xfrm>
          <a:prstGeom prst="ellipse">
            <a:avLst/>
          </a:prstGeom>
          <a:solidFill>
            <a:srgbClr val="00B050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>
              <a:solidFill>
                <a:schemeClr val="tx1"/>
              </a:solidFill>
            </a:endParaRPr>
          </a:p>
        </p:txBody>
      </p:sp>
      <p:sp>
        <p:nvSpPr>
          <p:cNvPr id="63" name="Ellipse 62">
            <a:extLst>
              <a:ext uri="{FF2B5EF4-FFF2-40B4-BE49-F238E27FC236}">
                <a16:creationId xmlns:a16="http://schemas.microsoft.com/office/drawing/2014/main" id="{50BBF7AE-4DA9-4353-A2D4-98C1DC517B50}"/>
              </a:ext>
            </a:extLst>
          </p:cNvPr>
          <p:cNvSpPr/>
          <p:nvPr/>
        </p:nvSpPr>
        <p:spPr>
          <a:xfrm>
            <a:off x="3482049" y="4073718"/>
            <a:ext cx="432000" cy="432000"/>
          </a:xfrm>
          <a:prstGeom prst="ellipse">
            <a:avLst/>
          </a:prstGeom>
          <a:solidFill>
            <a:srgbClr val="D40E3A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>
              <a:solidFill>
                <a:schemeClr val="tx1"/>
              </a:solidFill>
            </a:endParaRPr>
          </a:p>
        </p:txBody>
      </p:sp>
      <p:cxnSp>
        <p:nvCxnSpPr>
          <p:cNvPr id="88" name="Gerader Verbinder 87">
            <a:extLst>
              <a:ext uri="{FF2B5EF4-FFF2-40B4-BE49-F238E27FC236}">
                <a16:creationId xmlns:a16="http://schemas.microsoft.com/office/drawing/2014/main" id="{2476373E-D8CA-404E-BEA2-23B4F48EC7E6}"/>
              </a:ext>
            </a:extLst>
          </p:cNvPr>
          <p:cNvCxnSpPr/>
          <p:nvPr/>
        </p:nvCxnSpPr>
        <p:spPr>
          <a:xfrm>
            <a:off x="5960265" y="2072977"/>
            <a:ext cx="0" cy="3074126"/>
          </a:xfrm>
          <a:prstGeom prst="line">
            <a:avLst/>
          </a:prstGeom>
          <a:ln w="3810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5" name="Gerade Verbindung mit Pfeil 144">
            <a:extLst>
              <a:ext uri="{FF2B5EF4-FFF2-40B4-BE49-F238E27FC236}">
                <a16:creationId xmlns:a16="http://schemas.microsoft.com/office/drawing/2014/main" id="{46B8F5E5-1C18-42A3-908B-40F5C54B5ECB}"/>
              </a:ext>
            </a:extLst>
          </p:cNvPr>
          <p:cNvCxnSpPr>
            <a:cxnSpLocks/>
          </p:cNvCxnSpPr>
          <p:nvPr/>
        </p:nvCxnSpPr>
        <p:spPr>
          <a:xfrm>
            <a:off x="2866380" y="3761121"/>
            <a:ext cx="1" cy="252000"/>
          </a:xfrm>
          <a:prstGeom prst="straightConnector1">
            <a:avLst/>
          </a:prstGeom>
          <a:ln w="19050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4" name="Textfeld 143">
            <a:extLst>
              <a:ext uri="{FF2B5EF4-FFF2-40B4-BE49-F238E27FC236}">
                <a16:creationId xmlns:a16="http://schemas.microsoft.com/office/drawing/2014/main" id="{14CE986A-39C3-4AE5-9BFB-B7AA87A3CA22}"/>
              </a:ext>
            </a:extLst>
          </p:cNvPr>
          <p:cNvSpPr txBox="1"/>
          <p:nvPr/>
        </p:nvSpPr>
        <p:spPr>
          <a:xfrm>
            <a:off x="2640930" y="4162424"/>
            <a:ext cx="375071" cy="276999"/>
          </a:xfrm>
          <a:prstGeom prst="rect">
            <a:avLst/>
          </a:prstGeom>
          <a:ln w="3175">
            <a:noFill/>
          </a:ln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ü"/>
            </a:pPr>
            <a:r>
              <a:rPr lang="de-DE" sz="1200" dirty="0">
                <a:solidFill>
                  <a:schemeClr val="bg1"/>
                </a:solidFill>
              </a:rPr>
              <a:t>X</a:t>
            </a:r>
          </a:p>
        </p:txBody>
      </p:sp>
      <p:cxnSp>
        <p:nvCxnSpPr>
          <p:cNvPr id="152" name="Gerade Verbindung mit Pfeil 151">
            <a:extLst>
              <a:ext uri="{FF2B5EF4-FFF2-40B4-BE49-F238E27FC236}">
                <a16:creationId xmlns:a16="http://schemas.microsoft.com/office/drawing/2014/main" id="{EF921E87-581A-42C7-9A68-B44475435308}"/>
              </a:ext>
            </a:extLst>
          </p:cNvPr>
          <p:cNvCxnSpPr>
            <a:cxnSpLocks/>
          </p:cNvCxnSpPr>
          <p:nvPr/>
        </p:nvCxnSpPr>
        <p:spPr>
          <a:xfrm flipH="1">
            <a:off x="3151689" y="4308525"/>
            <a:ext cx="252000" cy="0"/>
          </a:xfrm>
          <a:prstGeom prst="straightConnector1">
            <a:avLst/>
          </a:prstGeom>
          <a:ln w="19050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7" name="Ellipse 166">
            <a:extLst>
              <a:ext uri="{FF2B5EF4-FFF2-40B4-BE49-F238E27FC236}">
                <a16:creationId xmlns:a16="http://schemas.microsoft.com/office/drawing/2014/main" id="{339E41C2-6719-4666-9D42-6CFA60F66369}"/>
              </a:ext>
            </a:extLst>
          </p:cNvPr>
          <p:cNvSpPr/>
          <p:nvPr/>
        </p:nvSpPr>
        <p:spPr>
          <a:xfrm>
            <a:off x="2767683" y="3255042"/>
            <a:ext cx="432000" cy="432000"/>
          </a:xfrm>
          <a:prstGeom prst="ellipse">
            <a:avLst/>
          </a:prstGeom>
          <a:solidFill>
            <a:schemeClr val="tx1"/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>
              <a:solidFill>
                <a:schemeClr val="tx1"/>
              </a:solidFill>
            </a:endParaRPr>
          </a:p>
        </p:txBody>
      </p:sp>
      <p:sp>
        <p:nvSpPr>
          <p:cNvPr id="168" name="Ellipse 167">
            <a:extLst>
              <a:ext uri="{FF2B5EF4-FFF2-40B4-BE49-F238E27FC236}">
                <a16:creationId xmlns:a16="http://schemas.microsoft.com/office/drawing/2014/main" id="{7BFF62D5-645D-45A2-B649-B72834D840CC}"/>
              </a:ext>
            </a:extLst>
          </p:cNvPr>
          <p:cNvSpPr/>
          <p:nvPr/>
        </p:nvSpPr>
        <p:spPr>
          <a:xfrm>
            <a:off x="2921317" y="3255042"/>
            <a:ext cx="432000" cy="432000"/>
          </a:xfrm>
          <a:prstGeom prst="ellipse">
            <a:avLst/>
          </a:prstGeom>
          <a:solidFill>
            <a:schemeClr val="tx1"/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>
              <a:solidFill>
                <a:schemeClr val="tx1"/>
              </a:solidFill>
            </a:endParaRPr>
          </a:p>
        </p:txBody>
      </p:sp>
      <p:grpSp>
        <p:nvGrpSpPr>
          <p:cNvPr id="24584" name="Gruppieren 24583">
            <a:extLst>
              <a:ext uri="{FF2B5EF4-FFF2-40B4-BE49-F238E27FC236}">
                <a16:creationId xmlns:a16="http://schemas.microsoft.com/office/drawing/2014/main" id="{C169E089-436C-4A29-8F8F-4B8D798E92D0}"/>
              </a:ext>
            </a:extLst>
          </p:cNvPr>
          <p:cNvGrpSpPr/>
          <p:nvPr/>
        </p:nvGrpSpPr>
        <p:grpSpPr>
          <a:xfrm>
            <a:off x="1977237" y="2247059"/>
            <a:ext cx="2600904" cy="380114"/>
            <a:chOff x="597506" y="1872229"/>
            <a:chExt cx="2600904" cy="380114"/>
          </a:xfrm>
        </p:grpSpPr>
        <p:sp>
          <p:nvSpPr>
            <p:cNvPr id="24583" name="Pfeil: Fünfeck 24582">
              <a:extLst>
                <a:ext uri="{FF2B5EF4-FFF2-40B4-BE49-F238E27FC236}">
                  <a16:creationId xmlns:a16="http://schemas.microsoft.com/office/drawing/2014/main" id="{832DDE41-2781-48F5-9959-41078F0931A4}"/>
                </a:ext>
              </a:extLst>
            </p:cNvPr>
            <p:cNvSpPr/>
            <p:nvPr/>
          </p:nvSpPr>
          <p:spPr>
            <a:xfrm rot="5400000">
              <a:off x="1707901" y="761834"/>
              <a:ext cx="380114" cy="2600904"/>
            </a:xfrm>
            <a:prstGeom prst="homePlate">
              <a:avLst/>
            </a:prstGeom>
            <a:solidFill>
              <a:schemeClr val="tx1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 dirty="0">
                <a:solidFill>
                  <a:schemeClr val="tx1"/>
                </a:solidFill>
              </a:endParaRPr>
            </a:p>
          </p:txBody>
        </p:sp>
        <p:sp>
          <p:nvSpPr>
            <p:cNvPr id="24582" name="Textfeld 24581">
              <a:extLst>
                <a:ext uri="{FF2B5EF4-FFF2-40B4-BE49-F238E27FC236}">
                  <a16:creationId xmlns:a16="http://schemas.microsoft.com/office/drawing/2014/main" id="{DC52FACD-A665-481E-A191-E258A23C184E}"/>
                </a:ext>
              </a:extLst>
            </p:cNvPr>
            <p:cNvSpPr txBox="1"/>
            <p:nvPr/>
          </p:nvSpPr>
          <p:spPr>
            <a:xfrm>
              <a:off x="1150598" y="1879203"/>
              <a:ext cx="1474378" cy="307777"/>
            </a:xfrm>
            <a:prstGeom prst="rect">
              <a:avLst/>
            </a:prstGeom>
            <a:ln w="3175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400" b="1" dirty="0">
                  <a:solidFill>
                    <a:schemeClr val="bg1"/>
                  </a:solidFill>
                </a:rPr>
                <a:t>Zentral</a:t>
              </a:r>
            </a:p>
          </p:txBody>
        </p:sp>
      </p:grpSp>
      <p:grpSp>
        <p:nvGrpSpPr>
          <p:cNvPr id="24585" name="Gruppieren 24584">
            <a:extLst>
              <a:ext uri="{FF2B5EF4-FFF2-40B4-BE49-F238E27FC236}">
                <a16:creationId xmlns:a16="http://schemas.microsoft.com/office/drawing/2014/main" id="{EA8E3C85-FB5E-41F7-B528-EA39BA3A3F74}"/>
              </a:ext>
            </a:extLst>
          </p:cNvPr>
          <p:cNvGrpSpPr/>
          <p:nvPr/>
        </p:nvGrpSpPr>
        <p:grpSpPr>
          <a:xfrm>
            <a:off x="6973976" y="2243646"/>
            <a:ext cx="2600904" cy="380114"/>
            <a:chOff x="8226378" y="1872228"/>
            <a:chExt cx="2600904" cy="380114"/>
          </a:xfrm>
        </p:grpSpPr>
        <p:sp>
          <p:nvSpPr>
            <p:cNvPr id="182" name="Pfeil: Fünfeck 181">
              <a:extLst>
                <a:ext uri="{FF2B5EF4-FFF2-40B4-BE49-F238E27FC236}">
                  <a16:creationId xmlns:a16="http://schemas.microsoft.com/office/drawing/2014/main" id="{87FAF895-032A-48E7-8ECF-C52E6FBC340B}"/>
                </a:ext>
              </a:extLst>
            </p:cNvPr>
            <p:cNvSpPr/>
            <p:nvPr/>
          </p:nvSpPr>
          <p:spPr>
            <a:xfrm rot="5400000">
              <a:off x="9336773" y="761833"/>
              <a:ext cx="380114" cy="2600904"/>
            </a:xfrm>
            <a:prstGeom prst="homePlate">
              <a:avLst/>
            </a:prstGeom>
            <a:solidFill>
              <a:schemeClr val="tx1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 dirty="0">
                <a:solidFill>
                  <a:schemeClr val="tx1"/>
                </a:solidFill>
              </a:endParaRPr>
            </a:p>
          </p:txBody>
        </p:sp>
        <p:sp>
          <p:nvSpPr>
            <p:cNvPr id="180" name="Textfeld 179">
              <a:extLst>
                <a:ext uri="{FF2B5EF4-FFF2-40B4-BE49-F238E27FC236}">
                  <a16:creationId xmlns:a16="http://schemas.microsoft.com/office/drawing/2014/main" id="{DC680CAB-03E7-4482-A059-F9336BDDF751}"/>
                </a:ext>
              </a:extLst>
            </p:cNvPr>
            <p:cNvSpPr txBox="1"/>
            <p:nvPr/>
          </p:nvSpPr>
          <p:spPr>
            <a:xfrm>
              <a:off x="8780257" y="1879203"/>
              <a:ext cx="1474378" cy="307777"/>
            </a:xfrm>
            <a:prstGeom prst="rect">
              <a:avLst/>
            </a:prstGeom>
            <a:ln w="3175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400" b="1" dirty="0">
                  <a:solidFill>
                    <a:schemeClr val="bg1"/>
                  </a:solidFill>
                </a:rPr>
                <a:t>Verteilt</a:t>
              </a:r>
            </a:p>
          </p:txBody>
        </p:sp>
      </p:grpSp>
      <p:sp>
        <p:nvSpPr>
          <p:cNvPr id="196" name="Ellipse 195">
            <a:extLst>
              <a:ext uri="{FF2B5EF4-FFF2-40B4-BE49-F238E27FC236}">
                <a16:creationId xmlns:a16="http://schemas.microsoft.com/office/drawing/2014/main" id="{5D2F274B-9DD0-44F1-A9AC-99BC159AE18D}"/>
              </a:ext>
            </a:extLst>
          </p:cNvPr>
          <p:cNvSpPr/>
          <p:nvPr/>
        </p:nvSpPr>
        <p:spPr>
          <a:xfrm>
            <a:off x="7207436" y="3508966"/>
            <a:ext cx="432000" cy="432000"/>
          </a:xfrm>
          <a:prstGeom prst="ellipse">
            <a:avLst/>
          </a:prstGeom>
          <a:solidFill>
            <a:schemeClr val="tx1"/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>
              <a:solidFill>
                <a:schemeClr val="tx1"/>
              </a:solidFill>
            </a:endParaRPr>
          </a:p>
        </p:txBody>
      </p:sp>
      <p:sp>
        <p:nvSpPr>
          <p:cNvPr id="198" name="Ellipse 197">
            <a:extLst>
              <a:ext uri="{FF2B5EF4-FFF2-40B4-BE49-F238E27FC236}">
                <a16:creationId xmlns:a16="http://schemas.microsoft.com/office/drawing/2014/main" id="{8A59AA09-EA59-4A84-AF43-19A308F642EE}"/>
              </a:ext>
            </a:extLst>
          </p:cNvPr>
          <p:cNvSpPr/>
          <p:nvPr/>
        </p:nvSpPr>
        <p:spPr>
          <a:xfrm>
            <a:off x="8641545" y="3238309"/>
            <a:ext cx="432000" cy="432000"/>
          </a:xfrm>
          <a:prstGeom prst="ellipse">
            <a:avLst/>
          </a:prstGeom>
          <a:solidFill>
            <a:srgbClr val="0A4B9B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>
              <a:solidFill>
                <a:schemeClr val="tx1"/>
              </a:solidFill>
            </a:endParaRPr>
          </a:p>
        </p:txBody>
      </p:sp>
      <p:sp>
        <p:nvSpPr>
          <p:cNvPr id="199" name="Ellipse 198">
            <a:extLst>
              <a:ext uri="{FF2B5EF4-FFF2-40B4-BE49-F238E27FC236}">
                <a16:creationId xmlns:a16="http://schemas.microsoft.com/office/drawing/2014/main" id="{C74F52BB-BA57-4F1B-AAFB-FA49247A0E4E}"/>
              </a:ext>
            </a:extLst>
          </p:cNvPr>
          <p:cNvSpPr/>
          <p:nvPr/>
        </p:nvSpPr>
        <p:spPr>
          <a:xfrm>
            <a:off x="7297813" y="4454896"/>
            <a:ext cx="432000" cy="432000"/>
          </a:xfrm>
          <a:prstGeom prst="ellipse">
            <a:avLst/>
          </a:prstGeom>
          <a:solidFill>
            <a:srgbClr val="00B050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>
              <a:solidFill>
                <a:schemeClr val="tx1"/>
              </a:solidFill>
            </a:endParaRPr>
          </a:p>
        </p:txBody>
      </p:sp>
      <p:sp>
        <p:nvSpPr>
          <p:cNvPr id="200" name="Ellipse 199">
            <a:extLst>
              <a:ext uri="{FF2B5EF4-FFF2-40B4-BE49-F238E27FC236}">
                <a16:creationId xmlns:a16="http://schemas.microsoft.com/office/drawing/2014/main" id="{E0985334-97DB-4829-81BB-BB885B7FE5C0}"/>
              </a:ext>
            </a:extLst>
          </p:cNvPr>
          <p:cNvSpPr/>
          <p:nvPr/>
        </p:nvSpPr>
        <p:spPr>
          <a:xfrm>
            <a:off x="8635804" y="4454896"/>
            <a:ext cx="432000" cy="432000"/>
          </a:xfrm>
          <a:prstGeom prst="ellipse">
            <a:avLst/>
          </a:prstGeom>
          <a:solidFill>
            <a:srgbClr val="D40E3A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>
              <a:solidFill>
                <a:schemeClr val="tx1"/>
              </a:solidFill>
            </a:endParaRPr>
          </a:p>
        </p:txBody>
      </p:sp>
      <p:sp>
        <p:nvSpPr>
          <p:cNvPr id="202" name="Textfeld 201">
            <a:extLst>
              <a:ext uri="{FF2B5EF4-FFF2-40B4-BE49-F238E27FC236}">
                <a16:creationId xmlns:a16="http://schemas.microsoft.com/office/drawing/2014/main" id="{00908F2B-10D5-4992-8BF5-A7E2C3D2B9F0}"/>
              </a:ext>
            </a:extLst>
          </p:cNvPr>
          <p:cNvSpPr txBox="1"/>
          <p:nvPr/>
        </p:nvSpPr>
        <p:spPr>
          <a:xfrm>
            <a:off x="7288362" y="4543602"/>
            <a:ext cx="375071" cy="276999"/>
          </a:xfrm>
          <a:prstGeom prst="rect">
            <a:avLst/>
          </a:prstGeom>
          <a:ln w="3175">
            <a:noFill/>
          </a:ln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ü"/>
            </a:pPr>
            <a:r>
              <a:rPr lang="de-DE" sz="1200" dirty="0">
                <a:solidFill>
                  <a:schemeClr val="bg1"/>
                </a:solidFill>
              </a:rPr>
              <a:t>X</a:t>
            </a:r>
          </a:p>
        </p:txBody>
      </p:sp>
      <p:sp>
        <p:nvSpPr>
          <p:cNvPr id="209" name="Rechteck: abgerundete Ecken 208">
            <a:extLst>
              <a:ext uri="{FF2B5EF4-FFF2-40B4-BE49-F238E27FC236}">
                <a16:creationId xmlns:a16="http://schemas.microsoft.com/office/drawing/2014/main" id="{9C85A905-6F6B-47A7-947D-0E077248486C}"/>
              </a:ext>
            </a:extLst>
          </p:cNvPr>
          <p:cNvSpPr/>
          <p:nvPr/>
        </p:nvSpPr>
        <p:spPr>
          <a:xfrm>
            <a:off x="7095599" y="4354486"/>
            <a:ext cx="898489" cy="621506"/>
          </a:xfrm>
          <a:prstGeom prst="round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>
              <a:solidFill>
                <a:schemeClr val="tx1"/>
              </a:solidFill>
            </a:endParaRPr>
          </a:p>
        </p:txBody>
      </p:sp>
      <p:sp>
        <p:nvSpPr>
          <p:cNvPr id="210" name="Rechteck: abgerundete Ecken 209">
            <a:extLst>
              <a:ext uri="{FF2B5EF4-FFF2-40B4-BE49-F238E27FC236}">
                <a16:creationId xmlns:a16="http://schemas.microsoft.com/office/drawing/2014/main" id="{4FB3F771-81B7-45D6-899D-6CE837407EF6}"/>
              </a:ext>
            </a:extLst>
          </p:cNvPr>
          <p:cNvSpPr/>
          <p:nvPr/>
        </p:nvSpPr>
        <p:spPr>
          <a:xfrm>
            <a:off x="8408300" y="3156840"/>
            <a:ext cx="898489" cy="621506"/>
          </a:xfrm>
          <a:prstGeom prst="round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>
              <a:solidFill>
                <a:schemeClr val="tx1"/>
              </a:solidFill>
            </a:endParaRPr>
          </a:p>
        </p:txBody>
      </p:sp>
      <p:sp>
        <p:nvSpPr>
          <p:cNvPr id="211" name="Rechteck: abgerundete Ecken 210">
            <a:extLst>
              <a:ext uri="{FF2B5EF4-FFF2-40B4-BE49-F238E27FC236}">
                <a16:creationId xmlns:a16="http://schemas.microsoft.com/office/drawing/2014/main" id="{609ECA01-8494-4FED-A87D-6F4BA26C3F89}"/>
              </a:ext>
            </a:extLst>
          </p:cNvPr>
          <p:cNvSpPr/>
          <p:nvPr/>
        </p:nvSpPr>
        <p:spPr>
          <a:xfrm>
            <a:off x="8402559" y="4356637"/>
            <a:ext cx="898489" cy="621506"/>
          </a:xfrm>
          <a:prstGeom prst="round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>
              <a:solidFill>
                <a:schemeClr val="tx1"/>
              </a:solidFill>
            </a:endParaRPr>
          </a:p>
        </p:txBody>
      </p:sp>
      <p:cxnSp>
        <p:nvCxnSpPr>
          <p:cNvPr id="218" name="Gerade Verbindung mit Pfeil 217">
            <a:extLst>
              <a:ext uri="{FF2B5EF4-FFF2-40B4-BE49-F238E27FC236}">
                <a16:creationId xmlns:a16="http://schemas.microsoft.com/office/drawing/2014/main" id="{873AE620-B970-44E0-B398-91C8D2A36D27}"/>
              </a:ext>
            </a:extLst>
          </p:cNvPr>
          <p:cNvCxnSpPr>
            <a:cxnSpLocks/>
          </p:cNvCxnSpPr>
          <p:nvPr/>
        </p:nvCxnSpPr>
        <p:spPr>
          <a:xfrm flipV="1">
            <a:off x="3160538" y="3822996"/>
            <a:ext cx="250254" cy="219774"/>
          </a:xfrm>
          <a:prstGeom prst="straightConnector1">
            <a:avLst/>
          </a:prstGeom>
          <a:ln w="19050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4" name="Gerade Verbindung mit Pfeil 223">
            <a:extLst>
              <a:ext uri="{FF2B5EF4-FFF2-40B4-BE49-F238E27FC236}">
                <a16:creationId xmlns:a16="http://schemas.microsoft.com/office/drawing/2014/main" id="{E47BCC07-E716-4330-9876-75AF5F6749E1}"/>
              </a:ext>
            </a:extLst>
          </p:cNvPr>
          <p:cNvCxnSpPr>
            <a:cxnSpLocks/>
          </p:cNvCxnSpPr>
          <p:nvPr/>
        </p:nvCxnSpPr>
        <p:spPr>
          <a:xfrm>
            <a:off x="3696383" y="3751193"/>
            <a:ext cx="1" cy="252000"/>
          </a:xfrm>
          <a:prstGeom prst="straightConnector1">
            <a:avLst/>
          </a:prstGeom>
          <a:ln w="19050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598" name="Textfeld 24597">
            <a:extLst>
              <a:ext uri="{FF2B5EF4-FFF2-40B4-BE49-F238E27FC236}">
                <a16:creationId xmlns:a16="http://schemas.microsoft.com/office/drawing/2014/main" id="{637D0B69-1C9C-4D3D-8266-8664BFCCCD1D}"/>
              </a:ext>
            </a:extLst>
          </p:cNvPr>
          <p:cNvSpPr txBox="1"/>
          <p:nvPr/>
        </p:nvSpPr>
        <p:spPr>
          <a:xfrm>
            <a:off x="2564821" y="3756850"/>
            <a:ext cx="343063" cy="276999"/>
          </a:xfrm>
          <a:prstGeom prst="rect">
            <a:avLst/>
          </a:prstGeom>
          <a:ln w="3175">
            <a:noFill/>
          </a:ln>
        </p:spPr>
        <p:txBody>
          <a:bodyPr wrap="square" rtlCol="0">
            <a:spAutoFit/>
          </a:bodyPr>
          <a:lstStyle/>
          <a:p>
            <a:r>
              <a:rPr lang="de-DE" sz="1200" dirty="0"/>
              <a:t>1.</a:t>
            </a:r>
          </a:p>
        </p:txBody>
      </p:sp>
      <p:sp>
        <p:nvSpPr>
          <p:cNvPr id="226" name="Textfeld 225">
            <a:extLst>
              <a:ext uri="{FF2B5EF4-FFF2-40B4-BE49-F238E27FC236}">
                <a16:creationId xmlns:a16="http://schemas.microsoft.com/office/drawing/2014/main" id="{55F7C5E1-8D05-47CF-A5C3-FFB6C2082E39}"/>
              </a:ext>
            </a:extLst>
          </p:cNvPr>
          <p:cNvSpPr txBox="1"/>
          <p:nvPr/>
        </p:nvSpPr>
        <p:spPr>
          <a:xfrm>
            <a:off x="3025020" y="3724966"/>
            <a:ext cx="343063" cy="276999"/>
          </a:xfrm>
          <a:prstGeom prst="rect">
            <a:avLst/>
          </a:prstGeom>
          <a:ln w="3175">
            <a:noFill/>
          </a:ln>
        </p:spPr>
        <p:txBody>
          <a:bodyPr wrap="square" rtlCol="0">
            <a:spAutoFit/>
          </a:bodyPr>
          <a:lstStyle/>
          <a:p>
            <a:r>
              <a:rPr lang="de-DE" sz="1200" dirty="0"/>
              <a:t>2.</a:t>
            </a:r>
          </a:p>
        </p:txBody>
      </p:sp>
      <p:sp>
        <p:nvSpPr>
          <p:cNvPr id="227" name="Textfeld 226">
            <a:extLst>
              <a:ext uri="{FF2B5EF4-FFF2-40B4-BE49-F238E27FC236}">
                <a16:creationId xmlns:a16="http://schemas.microsoft.com/office/drawing/2014/main" id="{25AF102A-1518-44AA-9721-99B49B409216}"/>
              </a:ext>
            </a:extLst>
          </p:cNvPr>
          <p:cNvSpPr txBox="1"/>
          <p:nvPr/>
        </p:nvSpPr>
        <p:spPr>
          <a:xfrm>
            <a:off x="3713791" y="3736122"/>
            <a:ext cx="343063" cy="276999"/>
          </a:xfrm>
          <a:prstGeom prst="rect">
            <a:avLst/>
          </a:prstGeom>
          <a:ln w="3175">
            <a:noFill/>
          </a:ln>
        </p:spPr>
        <p:txBody>
          <a:bodyPr wrap="square" rtlCol="0">
            <a:spAutoFit/>
          </a:bodyPr>
          <a:lstStyle/>
          <a:p>
            <a:r>
              <a:rPr lang="de-DE" sz="1200" dirty="0"/>
              <a:t>3.</a:t>
            </a:r>
          </a:p>
        </p:txBody>
      </p:sp>
      <p:sp>
        <p:nvSpPr>
          <p:cNvPr id="228" name="Textfeld 227">
            <a:extLst>
              <a:ext uri="{FF2B5EF4-FFF2-40B4-BE49-F238E27FC236}">
                <a16:creationId xmlns:a16="http://schemas.microsoft.com/office/drawing/2014/main" id="{4968F648-0831-4FDD-BB20-E0DFB2FD8614}"/>
              </a:ext>
            </a:extLst>
          </p:cNvPr>
          <p:cNvSpPr txBox="1"/>
          <p:nvPr/>
        </p:nvSpPr>
        <p:spPr>
          <a:xfrm>
            <a:off x="3151689" y="4300923"/>
            <a:ext cx="343063" cy="276999"/>
          </a:xfrm>
          <a:prstGeom prst="rect">
            <a:avLst/>
          </a:prstGeom>
          <a:ln w="3175">
            <a:noFill/>
          </a:ln>
        </p:spPr>
        <p:txBody>
          <a:bodyPr wrap="square" rtlCol="0">
            <a:spAutoFit/>
          </a:bodyPr>
          <a:lstStyle/>
          <a:p>
            <a:r>
              <a:rPr lang="de-DE" sz="1200" dirty="0"/>
              <a:t>4.</a:t>
            </a:r>
          </a:p>
        </p:txBody>
      </p:sp>
      <p:cxnSp>
        <p:nvCxnSpPr>
          <p:cNvPr id="256" name="Gerade Verbindung mit Pfeil 255">
            <a:extLst>
              <a:ext uri="{FF2B5EF4-FFF2-40B4-BE49-F238E27FC236}">
                <a16:creationId xmlns:a16="http://schemas.microsoft.com/office/drawing/2014/main" id="{56832187-6B4F-436D-A8B1-A87C87847632}"/>
              </a:ext>
            </a:extLst>
          </p:cNvPr>
          <p:cNvCxnSpPr>
            <a:cxnSpLocks/>
          </p:cNvCxnSpPr>
          <p:nvPr/>
        </p:nvCxnSpPr>
        <p:spPr>
          <a:xfrm flipH="1">
            <a:off x="8085371" y="4689766"/>
            <a:ext cx="252000" cy="0"/>
          </a:xfrm>
          <a:prstGeom prst="straightConnector1">
            <a:avLst/>
          </a:prstGeom>
          <a:ln w="19050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7" name="Gerade Verbindung mit Pfeil 256">
            <a:extLst>
              <a:ext uri="{FF2B5EF4-FFF2-40B4-BE49-F238E27FC236}">
                <a16:creationId xmlns:a16="http://schemas.microsoft.com/office/drawing/2014/main" id="{A39CF1A2-5DDC-4139-9B28-B193A29FBADA}"/>
              </a:ext>
            </a:extLst>
          </p:cNvPr>
          <p:cNvCxnSpPr>
            <a:cxnSpLocks/>
          </p:cNvCxnSpPr>
          <p:nvPr/>
        </p:nvCxnSpPr>
        <p:spPr>
          <a:xfrm>
            <a:off x="7458482" y="4087026"/>
            <a:ext cx="1" cy="252000"/>
          </a:xfrm>
          <a:prstGeom prst="straightConnector1">
            <a:avLst/>
          </a:prstGeom>
          <a:ln w="19050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8" name="Gerade Verbindung mit Pfeil 257">
            <a:extLst>
              <a:ext uri="{FF2B5EF4-FFF2-40B4-BE49-F238E27FC236}">
                <a16:creationId xmlns:a16="http://schemas.microsoft.com/office/drawing/2014/main" id="{6EF81D09-7CFE-4D11-B5D2-905BA9ACDCC1}"/>
              </a:ext>
            </a:extLst>
          </p:cNvPr>
          <p:cNvCxnSpPr>
            <a:cxnSpLocks/>
          </p:cNvCxnSpPr>
          <p:nvPr/>
        </p:nvCxnSpPr>
        <p:spPr>
          <a:xfrm>
            <a:off x="8851802" y="3920631"/>
            <a:ext cx="1" cy="252000"/>
          </a:xfrm>
          <a:prstGeom prst="straightConnector1">
            <a:avLst/>
          </a:prstGeom>
          <a:ln w="19050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0" name="Gerade Verbindung mit Pfeil 259">
            <a:extLst>
              <a:ext uri="{FF2B5EF4-FFF2-40B4-BE49-F238E27FC236}">
                <a16:creationId xmlns:a16="http://schemas.microsoft.com/office/drawing/2014/main" id="{301C2CEF-7D76-434D-9DFD-3DB1741041F6}"/>
              </a:ext>
            </a:extLst>
          </p:cNvPr>
          <p:cNvCxnSpPr>
            <a:cxnSpLocks/>
          </p:cNvCxnSpPr>
          <p:nvPr/>
        </p:nvCxnSpPr>
        <p:spPr>
          <a:xfrm flipV="1">
            <a:off x="8149302" y="3977139"/>
            <a:ext cx="250254" cy="219774"/>
          </a:xfrm>
          <a:prstGeom prst="straightConnector1">
            <a:avLst/>
          </a:prstGeom>
          <a:ln w="19050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1" name="Textfeld 260">
            <a:extLst>
              <a:ext uri="{FF2B5EF4-FFF2-40B4-BE49-F238E27FC236}">
                <a16:creationId xmlns:a16="http://schemas.microsoft.com/office/drawing/2014/main" id="{41E4E228-9A2C-4A99-94BA-8ED6F7B2CB30}"/>
              </a:ext>
            </a:extLst>
          </p:cNvPr>
          <p:cNvSpPr txBox="1"/>
          <p:nvPr/>
        </p:nvSpPr>
        <p:spPr>
          <a:xfrm>
            <a:off x="7142634" y="4081651"/>
            <a:ext cx="343063" cy="276999"/>
          </a:xfrm>
          <a:prstGeom prst="rect">
            <a:avLst/>
          </a:prstGeom>
          <a:ln w="3175">
            <a:noFill/>
          </a:ln>
        </p:spPr>
        <p:txBody>
          <a:bodyPr wrap="square" rtlCol="0">
            <a:spAutoFit/>
          </a:bodyPr>
          <a:lstStyle/>
          <a:p>
            <a:r>
              <a:rPr lang="de-DE" sz="1200" dirty="0"/>
              <a:t>1.</a:t>
            </a:r>
          </a:p>
        </p:txBody>
      </p:sp>
      <p:sp>
        <p:nvSpPr>
          <p:cNvPr id="262" name="Textfeld 261">
            <a:extLst>
              <a:ext uri="{FF2B5EF4-FFF2-40B4-BE49-F238E27FC236}">
                <a16:creationId xmlns:a16="http://schemas.microsoft.com/office/drawing/2014/main" id="{49AC3A97-3AD3-4DCB-AA6D-BA603774AEEF}"/>
              </a:ext>
            </a:extLst>
          </p:cNvPr>
          <p:cNvSpPr txBox="1"/>
          <p:nvPr/>
        </p:nvSpPr>
        <p:spPr>
          <a:xfrm>
            <a:off x="8011193" y="3874968"/>
            <a:ext cx="343063" cy="276999"/>
          </a:xfrm>
          <a:prstGeom prst="rect">
            <a:avLst/>
          </a:prstGeom>
          <a:ln w="3175">
            <a:noFill/>
          </a:ln>
        </p:spPr>
        <p:txBody>
          <a:bodyPr wrap="square" rtlCol="0">
            <a:spAutoFit/>
          </a:bodyPr>
          <a:lstStyle/>
          <a:p>
            <a:r>
              <a:rPr lang="de-DE" sz="1200" dirty="0"/>
              <a:t>2.</a:t>
            </a:r>
          </a:p>
        </p:txBody>
      </p:sp>
      <p:sp>
        <p:nvSpPr>
          <p:cNvPr id="263" name="Textfeld 262">
            <a:extLst>
              <a:ext uri="{FF2B5EF4-FFF2-40B4-BE49-F238E27FC236}">
                <a16:creationId xmlns:a16="http://schemas.microsoft.com/office/drawing/2014/main" id="{9D3EF422-26B4-4DF3-99B5-0F550CEF46D5}"/>
              </a:ext>
            </a:extLst>
          </p:cNvPr>
          <p:cNvSpPr txBox="1"/>
          <p:nvPr/>
        </p:nvSpPr>
        <p:spPr>
          <a:xfrm>
            <a:off x="8846046" y="3906362"/>
            <a:ext cx="343063" cy="276999"/>
          </a:xfrm>
          <a:prstGeom prst="rect">
            <a:avLst/>
          </a:prstGeom>
          <a:ln w="3175">
            <a:noFill/>
          </a:ln>
        </p:spPr>
        <p:txBody>
          <a:bodyPr wrap="square" rtlCol="0">
            <a:spAutoFit/>
          </a:bodyPr>
          <a:lstStyle/>
          <a:p>
            <a:r>
              <a:rPr lang="de-DE" sz="1200" dirty="0"/>
              <a:t>3.</a:t>
            </a:r>
          </a:p>
        </p:txBody>
      </p:sp>
      <p:sp>
        <p:nvSpPr>
          <p:cNvPr id="264" name="Textfeld 263">
            <a:extLst>
              <a:ext uri="{FF2B5EF4-FFF2-40B4-BE49-F238E27FC236}">
                <a16:creationId xmlns:a16="http://schemas.microsoft.com/office/drawing/2014/main" id="{28C7F468-3184-4B14-A246-8AD10C33C20C}"/>
              </a:ext>
            </a:extLst>
          </p:cNvPr>
          <p:cNvSpPr txBox="1"/>
          <p:nvPr/>
        </p:nvSpPr>
        <p:spPr>
          <a:xfrm>
            <a:off x="8102897" y="4665239"/>
            <a:ext cx="343063" cy="276999"/>
          </a:xfrm>
          <a:prstGeom prst="rect">
            <a:avLst/>
          </a:prstGeom>
          <a:ln w="3175">
            <a:noFill/>
          </a:ln>
        </p:spPr>
        <p:txBody>
          <a:bodyPr wrap="square" rtlCol="0">
            <a:spAutoFit/>
          </a:bodyPr>
          <a:lstStyle/>
          <a:p>
            <a:r>
              <a:rPr lang="de-DE" sz="1200" dirty="0"/>
              <a:t>4.</a:t>
            </a:r>
          </a:p>
        </p:txBody>
      </p:sp>
      <p:grpSp>
        <p:nvGrpSpPr>
          <p:cNvPr id="64" name="Gruppieren 63">
            <a:extLst>
              <a:ext uri="{FF2B5EF4-FFF2-40B4-BE49-F238E27FC236}">
                <a16:creationId xmlns:a16="http://schemas.microsoft.com/office/drawing/2014/main" id="{6D50923F-E237-4925-AE9D-A6754E123266}"/>
              </a:ext>
            </a:extLst>
          </p:cNvPr>
          <p:cNvGrpSpPr/>
          <p:nvPr/>
        </p:nvGrpSpPr>
        <p:grpSpPr>
          <a:xfrm>
            <a:off x="302366" y="6191794"/>
            <a:ext cx="11663104" cy="463351"/>
            <a:chOff x="302366" y="6098591"/>
            <a:chExt cx="11663104" cy="360000"/>
          </a:xfrm>
        </p:grpSpPr>
        <p:sp>
          <p:nvSpPr>
            <p:cNvPr id="65" name="Textplatzhalter 2">
              <a:extLst>
                <a:ext uri="{FF2B5EF4-FFF2-40B4-BE49-F238E27FC236}">
                  <a16:creationId xmlns:a16="http://schemas.microsoft.com/office/drawing/2014/main" id="{B8B8CBD6-3B3C-4CED-8A92-C610AF0AF67E}"/>
                </a:ext>
              </a:extLst>
            </p:cNvPr>
            <p:cNvSpPr txBox="1">
              <a:spLocks/>
            </p:cNvSpPr>
            <p:nvPr/>
          </p:nvSpPr>
          <p:spPr>
            <a:xfrm>
              <a:off x="654174" y="6098591"/>
              <a:ext cx="11311296" cy="36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none" lIns="180000" tIns="36000" rIns="36000" bIns="36000" rtlCol="0" anchor="ctr">
              <a:noAutofit/>
            </a:bodyPr>
            <a:lstStyle>
              <a:lvl1pPr marL="0" indent="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Tx/>
                <a:buNone/>
                <a:defRPr sz="1400" b="0" kern="1200" baseline="0">
                  <a:solidFill>
                    <a:schemeClr val="bg1"/>
                  </a:solidFill>
                  <a:latin typeface="Source Sans Pro Semibold" pitchFamily="34" charset="0"/>
                  <a:ea typeface="+mn-ea"/>
                  <a:cs typeface="+mn-cs"/>
                </a:defRPr>
              </a:lvl1pPr>
              <a:lvl2pPr marL="457200" indent="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None/>
                <a:defRPr sz="20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ClrTx/>
                <a:buFont typeface="Symbol" panose="05050102010706020507" pitchFamily="18" charset="2"/>
                <a:buNone/>
                <a:defRPr sz="18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ClrTx/>
                <a:buFont typeface="Symbol" panose="05050102010706020507" pitchFamily="18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ClrTx/>
                <a:buFont typeface="Symbol" panose="05050102010706020507" pitchFamily="18" charset="2"/>
                <a:buNone/>
                <a:tabLst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dirty="0"/>
                <a:t>Die Modularität der Software- und Hardwarekomponenten erlaubt einen </a:t>
              </a:r>
              <a:r>
                <a:rPr lang="de-DE" dirty="0" err="1"/>
                <a:t>use</a:t>
              </a:r>
              <a:r>
                <a:rPr lang="de-DE" dirty="0"/>
                <a:t> </a:t>
              </a:r>
              <a:r>
                <a:rPr lang="de-DE" dirty="0" err="1"/>
                <a:t>case</a:t>
              </a:r>
              <a:r>
                <a:rPr lang="de-DE" dirty="0"/>
                <a:t>-spezifischen Aufbau und Umbau des Systems.</a:t>
              </a:r>
            </a:p>
          </p:txBody>
        </p:sp>
        <p:sp>
          <p:nvSpPr>
            <p:cNvPr id="66" name="Textplatzhalter 10">
              <a:extLst>
                <a:ext uri="{FF2B5EF4-FFF2-40B4-BE49-F238E27FC236}">
                  <a16:creationId xmlns:a16="http://schemas.microsoft.com/office/drawing/2014/main" id="{8FDB75F2-014B-4564-976C-DB9188AA73B2}"/>
                </a:ext>
              </a:extLst>
            </p:cNvPr>
            <p:cNvSpPr txBox="1">
              <a:spLocks/>
            </p:cNvSpPr>
            <p:nvPr/>
          </p:nvSpPr>
          <p:spPr>
            <a:xfrm>
              <a:off x="302366" y="6098591"/>
              <a:ext cx="360000" cy="360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lIns="36000" tIns="36000" rIns="36000" bIns="36000" rtlCol="0" anchor="ctr">
              <a:noAutofit/>
            </a:bodyPr>
            <a:lstStyle>
              <a:lvl1pPr marL="0" indent="0" algn="ctr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Tx/>
                <a:buNone/>
                <a:defRPr sz="1600" b="0" kern="1200">
                  <a:solidFill>
                    <a:schemeClr val="bg1"/>
                  </a:solidFill>
                  <a:latin typeface="Source Sans Pro Semibold" pitchFamily="34" charset="0"/>
                  <a:ea typeface="+mn-ea"/>
                  <a:cs typeface="+mn-cs"/>
                </a:defRPr>
              </a:lvl1pPr>
              <a:lvl2pPr marL="457200" indent="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None/>
                <a:defRPr sz="20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ClrTx/>
                <a:buFont typeface="Symbol" panose="05050102010706020507" pitchFamily="18" charset="2"/>
                <a:buNone/>
                <a:defRPr sz="18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ClrTx/>
                <a:buFont typeface="Symbol" panose="05050102010706020507" pitchFamily="18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ClrTx/>
                <a:buFont typeface="Symbol" panose="05050102010706020507" pitchFamily="18" charset="2"/>
                <a:buNone/>
                <a:tabLst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/>
                <a:t>!</a:t>
              </a:r>
              <a:endParaRPr lang="de-DE" dirty="0"/>
            </a:p>
          </p:txBody>
        </p:sp>
      </p:grpSp>
    </p:spTree>
    <p:extLst>
      <p:ext uri="{BB962C8B-B14F-4D97-AF65-F5344CB8AC3E}">
        <p14:creationId xmlns:p14="http://schemas.microsoft.com/office/powerpoint/2010/main" val="140874159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el 1"/>
          <p:cNvSpPr txBox="1">
            <a:spLocks/>
          </p:cNvSpPr>
          <p:nvPr/>
        </p:nvSpPr>
        <p:spPr>
          <a:xfrm>
            <a:off x="382588" y="919195"/>
            <a:ext cx="9674225" cy="828000"/>
          </a:xfrm>
          <a:prstGeom prst="rect">
            <a:avLst/>
          </a:prstGeom>
        </p:spPr>
        <p:txBody>
          <a:bodyPr vert="horz" lIns="36000" tIns="36000" rIns="36000" bIns="36000" rtlCol="0" anchor="t">
            <a:noAutofit/>
          </a:bodyPr>
          <a:lstStyle>
            <a:lvl1pPr algn="l" defTabSz="685800" rtl="0" eaLnBrk="1" latinLnBrk="0" hangingPunct="1">
              <a:lnSpc>
                <a:spcPts val="2175"/>
              </a:lnSpc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3200" dirty="0" err="1"/>
              <a:t>Quox</a:t>
            </a:r>
            <a:r>
              <a:rPr lang="de-DE" sz="3200" dirty="0"/>
              <a:t> – zentrales System</a:t>
            </a:r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6CC68E8A-E60D-4571-B13F-DC047C7BB89F}"/>
              </a:ext>
            </a:extLst>
          </p:cNvPr>
          <p:cNvGrpSpPr/>
          <p:nvPr/>
        </p:nvGrpSpPr>
        <p:grpSpPr>
          <a:xfrm>
            <a:off x="1145308" y="3040775"/>
            <a:ext cx="1757575" cy="621506"/>
            <a:chOff x="5670830" y="3594908"/>
            <a:chExt cx="1757575" cy="621506"/>
          </a:xfrm>
        </p:grpSpPr>
        <p:grpSp>
          <p:nvGrpSpPr>
            <p:cNvPr id="9" name="Gruppieren 8">
              <a:extLst>
                <a:ext uri="{FF2B5EF4-FFF2-40B4-BE49-F238E27FC236}">
                  <a16:creationId xmlns:a16="http://schemas.microsoft.com/office/drawing/2014/main" id="{3FD34F55-ABB6-4629-AE64-897D33706B45}"/>
                </a:ext>
              </a:extLst>
            </p:cNvPr>
            <p:cNvGrpSpPr/>
            <p:nvPr/>
          </p:nvGrpSpPr>
          <p:grpSpPr>
            <a:xfrm>
              <a:off x="5670830" y="3594908"/>
              <a:ext cx="1757575" cy="621506"/>
              <a:chOff x="5670830" y="3594908"/>
              <a:chExt cx="1757575" cy="621506"/>
            </a:xfrm>
          </p:grpSpPr>
          <p:sp>
            <p:nvSpPr>
              <p:cNvPr id="78" name="Rechteck: abgerundete Ecken 77">
                <a:extLst>
                  <a:ext uri="{FF2B5EF4-FFF2-40B4-BE49-F238E27FC236}">
                    <a16:creationId xmlns:a16="http://schemas.microsoft.com/office/drawing/2014/main" id="{CC69B66E-B0FC-4F46-9200-6064E13C8027}"/>
                  </a:ext>
                </a:extLst>
              </p:cNvPr>
              <p:cNvSpPr/>
              <p:nvPr/>
            </p:nvSpPr>
            <p:spPr>
              <a:xfrm>
                <a:off x="5670830" y="3594908"/>
                <a:ext cx="1757575" cy="62150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e-DE" sz="1600">
                  <a:solidFill>
                    <a:schemeClr val="tx1"/>
                  </a:solidFill>
                </a:endParaRPr>
              </a:p>
            </p:txBody>
          </p:sp>
          <p:sp>
            <p:nvSpPr>
              <p:cNvPr id="79" name="Ellipse 78">
                <a:extLst>
                  <a:ext uri="{FF2B5EF4-FFF2-40B4-BE49-F238E27FC236}">
                    <a16:creationId xmlns:a16="http://schemas.microsoft.com/office/drawing/2014/main" id="{847D97ED-0EF5-4560-B977-46FD2992EC90}"/>
                  </a:ext>
                </a:extLst>
              </p:cNvPr>
              <p:cNvSpPr/>
              <p:nvPr/>
            </p:nvSpPr>
            <p:spPr>
              <a:xfrm>
                <a:off x="5904074" y="3689661"/>
                <a:ext cx="432000" cy="432000"/>
              </a:xfrm>
              <a:prstGeom prst="ellipse">
                <a:avLst/>
              </a:prstGeom>
              <a:solidFill>
                <a:schemeClr val="tx1"/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e-DE" sz="160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98" name="Ellipse 197">
              <a:extLst>
                <a:ext uri="{FF2B5EF4-FFF2-40B4-BE49-F238E27FC236}">
                  <a16:creationId xmlns:a16="http://schemas.microsoft.com/office/drawing/2014/main" id="{8A59AA09-EA59-4A84-AF43-19A308F642EE}"/>
                </a:ext>
              </a:extLst>
            </p:cNvPr>
            <p:cNvSpPr/>
            <p:nvPr/>
          </p:nvSpPr>
          <p:spPr>
            <a:xfrm>
              <a:off x="6703184" y="3685261"/>
              <a:ext cx="432000" cy="432000"/>
            </a:xfrm>
            <a:prstGeom prst="ellipse">
              <a:avLst/>
            </a:prstGeom>
            <a:solidFill>
              <a:srgbClr val="0A4B9B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>
                <a:solidFill>
                  <a:schemeClr val="tx1"/>
                </a:solidFill>
              </a:endParaRPr>
            </a:p>
          </p:txBody>
        </p:sp>
      </p:grpSp>
      <p:sp>
        <p:nvSpPr>
          <p:cNvPr id="199" name="Ellipse 198">
            <a:extLst>
              <a:ext uri="{FF2B5EF4-FFF2-40B4-BE49-F238E27FC236}">
                <a16:creationId xmlns:a16="http://schemas.microsoft.com/office/drawing/2014/main" id="{C74F52BB-BA57-4F1B-AAFB-FA49247A0E4E}"/>
              </a:ext>
            </a:extLst>
          </p:cNvPr>
          <p:cNvSpPr/>
          <p:nvPr/>
        </p:nvSpPr>
        <p:spPr>
          <a:xfrm>
            <a:off x="1805702" y="3999913"/>
            <a:ext cx="432000" cy="432000"/>
          </a:xfrm>
          <a:prstGeom prst="ellipse">
            <a:avLst/>
          </a:prstGeom>
          <a:solidFill>
            <a:srgbClr val="00B050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>
              <a:solidFill>
                <a:schemeClr val="tx1"/>
              </a:solidFill>
            </a:endParaRPr>
          </a:p>
        </p:txBody>
      </p:sp>
      <p:sp>
        <p:nvSpPr>
          <p:cNvPr id="200" name="Ellipse 199">
            <a:extLst>
              <a:ext uri="{FF2B5EF4-FFF2-40B4-BE49-F238E27FC236}">
                <a16:creationId xmlns:a16="http://schemas.microsoft.com/office/drawing/2014/main" id="{E0985334-97DB-4829-81BB-BB885B7FE5C0}"/>
              </a:ext>
            </a:extLst>
          </p:cNvPr>
          <p:cNvSpPr/>
          <p:nvPr/>
        </p:nvSpPr>
        <p:spPr>
          <a:xfrm>
            <a:off x="1834134" y="4709803"/>
            <a:ext cx="432000" cy="432000"/>
          </a:xfrm>
          <a:prstGeom prst="ellipse">
            <a:avLst/>
          </a:prstGeom>
          <a:solidFill>
            <a:srgbClr val="D40E3A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>
              <a:solidFill>
                <a:schemeClr val="tx1"/>
              </a:solidFill>
            </a:endParaRPr>
          </a:p>
        </p:txBody>
      </p:sp>
      <p:sp>
        <p:nvSpPr>
          <p:cNvPr id="202" name="Textfeld 201">
            <a:extLst>
              <a:ext uri="{FF2B5EF4-FFF2-40B4-BE49-F238E27FC236}">
                <a16:creationId xmlns:a16="http://schemas.microsoft.com/office/drawing/2014/main" id="{00908F2B-10D5-4992-8BF5-A7E2C3D2B9F0}"/>
              </a:ext>
            </a:extLst>
          </p:cNvPr>
          <p:cNvSpPr txBox="1"/>
          <p:nvPr/>
        </p:nvSpPr>
        <p:spPr>
          <a:xfrm>
            <a:off x="1796251" y="4088619"/>
            <a:ext cx="375071" cy="276999"/>
          </a:xfrm>
          <a:prstGeom prst="rect">
            <a:avLst/>
          </a:prstGeom>
          <a:ln w="3175">
            <a:noFill/>
          </a:ln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ü"/>
            </a:pPr>
            <a:r>
              <a:rPr lang="de-DE" sz="1200" dirty="0">
                <a:solidFill>
                  <a:schemeClr val="bg1"/>
                </a:solidFill>
              </a:rPr>
              <a:t>X</a:t>
            </a:r>
          </a:p>
        </p:txBody>
      </p:sp>
      <p:sp>
        <p:nvSpPr>
          <p:cNvPr id="209" name="Rechteck: abgerundete Ecken 208">
            <a:extLst>
              <a:ext uri="{FF2B5EF4-FFF2-40B4-BE49-F238E27FC236}">
                <a16:creationId xmlns:a16="http://schemas.microsoft.com/office/drawing/2014/main" id="{9C85A905-6F6B-47A7-947D-0E077248486C}"/>
              </a:ext>
            </a:extLst>
          </p:cNvPr>
          <p:cNvSpPr/>
          <p:nvPr/>
        </p:nvSpPr>
        <p:spPr>
          <a:xfrm>
            <a:off x="1603488" y="3899503"/>
            <a:ext cx="898489" cy="621506"/>
          </a:xfrm>
          <a:prstGeom prst="round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>
              <a:solidFill>
                <a:schemeClr val="tx1"/>
              </a:solidFill>
            </a:endParaRPr>
          </a:p>
        </p:txBody>
      </p:sp>
      <p:sp>
        <p:nvSpPr>
          <p:cNvPr id="211" name="Rechteck: abgerundete Ecken 210">
            <a:extLst>
              <a:ext uri="{FF2B5EF4-FFF2-40B4-BE49-F238E27FC236}">
                <a16:creationId xmlns:a16="http://schemas.microsoft.com/office/drawing/2014/main" id="{609ECA01-8494-4FED-A87D-6F4BA26C3F89}"/>
              </a:ext>
            </a:extLst>
          </p:cNvPr>
          <p:cNvSpPr/>
          <p:nvPr/>
        </p:nvSpPr>
        <p:spPr>
          <a:xfrm>
            <a:off x="1600890" y="4615050"/>
            <a:ext cx="898489" cy="621506"/>
          </a:xfrm>
          <a:prstGeom prst="round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>
              <a:solidFill>
                <a:schemeClr val="tx1"/>
              </a:solidFill>
            </a:endParaRPr>
          </a:p>
        </p:txBody>
      </p:sp>
      <p:grpSp>
        <p:nvGrpSpPr>
          <p:cNvPr id="64" name="Gruppieren 63">
            <a:extLst>
              <a:ext uri="{FF2B5EF4-FFF2-40B4-BE49-F238E27FC236}">
                <a16:creationId xmlns:a16="http://schemas.microsoft.com/office/drawing/2014/main" id="{6D50923F-E237-4925-AE9D-A6754E123266}"/>
              </a:ext>
            </a:extLst>
          </p:cNvPr>
          <p:cNvGrpSpPr/>
          <p:nvPr/>
        </p:nvGrpSpPr>
        <p:grpSpPr>
          <a:xfrm>
            <a:off x="302366" y="6191794"/>
            <a:ext cx="11663104" cy="463351"/>
            <a:chOff x="302366" y="6098591"/>
            <a:chExt cx="11663104" cy="360000"/>
          </a:xfrm>
        </p:grpSpPr>
        <p:sp>
          <p:nvSpPr>
            <p:cNvPr id="65" name="Textplatzhalter 2">
              <a:extLst>
                <a:ext uri="{FF2B5EF4-FFF2-40B4-BE49-F238E27FC236}">
                  <a16:creationId xmlns:a16="http://schemas.microsoft.com/office/drawing/2014/main" id="{B8B8CBD6-3B3C-4CED-8A92-C610AF0AF67E}"/>
                </a:ext>
              </a:extLst>
            </p:cNvPr>
            <p:cNvSpPr txBox="1">
              <a:spLocks/>
            </p:cNvSpPr>
            <p:nvPr/>
          </p:nvSpPr>
          <p:spPr>
            <a:xfrm>
              <a:off x="654174" y="6098591"/>
              <a:ext cx="11311296" cy="36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none" lIns="180000" tIns="36000" rIns="36000" bIns="36000" rtlCol="0" anchor="ctr">
              <a:noAutofit/>
            </a:bodyPr>
            <a:lstStyle>
              <a:lvl1pPr marL="0" indent="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Tx/>
                <a:buNone/>
                <a:defRPr sz="1400" b="0" kern="1200" baseline="0">
                  <a:solidFill>
                    <a:schemeClr val="bg1"/>
                  </a:solidFill>
                  <a:latin typeface="Source Sans Pro Semibold" pitchFamily="34" charset="0"/>
                  <a:ea typeface="+mn-ea"/>
                  <a:cs typeface="+mn-cs"/>
                </a:defRPr>
              </a:lvl1pPr>
              <a:lvl2pPr marL="457200" indent="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None/>
                <a:defRPr sz="20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ClrTx/>
                <a:buFont typeface="Symbol" panose="05050102010706020507" pitchFamily="18" charset="2"/>
                <a:buNone/>
                <a:defRPr sz="18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ClrTx/>
                <a:buFont typeface="Symbol" panose="05050102010706020507" pitchFamily="18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ClrTx/>
                <a:buFont typeface="Symbol" panose="05050102010706020507" pitchFamily="18" charset="2"/>
                <a:buNone/>
                <a:tabLst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dirty="0"/>
                <a:t>Die Modularität der Software- und Hardwarekomponenten erlaubt einen </a:t>
              </a:r>
              <a:r>
                <a:rPr lang="de-DE" dirty="0" err="1"/>
                <a:t>use</a:t>
              </a:r>
              <a:r>
                <a:rPr lang="de-DE" dirty="0"/>
                <a:t> </a:t>
              </a:r>
              <a:r>
                <a:rPr lang="de-DE" dirty="0" err="1"/>
                <a:t>case</a:t>
              </a:r>
              <a:r>
                <a:rPr lang="de-DE" dirty="0"/>
                <a:t>-spezifischen Aufbau und Umbau des Systems im PLC. </a:t>
              </a:r>
            </a:p>
          </p:txBody>
        </p:sp>
        <p:sp>
          <p:nvSpPr>
            <p:cNvPr id="66" name="Textplatzhalter 10">
              <a:extLst>
                <a:ext uri="{FF2B5EF4-FFF2-40B4-BE49-F238E27FC236}">
                  <a16:creationId xmlns:a16="http://schemas.microsoft.com/office/drawing/2014/main" id="{8FDB75F2-014B-4564-976C-DB9188AA73B2}"/>
                </a:ext>
              </a:extLst>
            </p:cNvPr>
            <p:cNvSpPr txBox="1">
              <a:spLocks/>
            </p:cNvSpPr>
            <p:nvPr/>
          </p:nvSpPr>
          <p:spPr>
            <a:xfrm>
              <a:off x="302366" y="6098591"/>
              <a:ext cx="360000" cy="360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lIns="36000" tIns="36000" rIns="36000" bIns="36000" rtlCol="0" anchor="ctr">
              <a:noAutofit/>
            </a:bodyPr>
            <a:lstStyle>
              <a:lvl1pPr marL="0" indent="0" algn="ctr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Tx/>
                <a:buNone/>
                <a:defRPr sz="1600" b="0" kern="1200">
                  <a:solidFill>
                    <a:schemeClr val="bg1"/>
                  </a:solidFill>
                  <a:latin typeface="Source Sans Pro Semibold" pitchFamily="34" charset="0"/>
                  <a:ea typeface="+mn-ea"/>
                  <a:cs typeface="+mn-cs"/>
                </a:defRPr>
              </a:lvl1pPr>
              <a:lvl2pPr marL="457200" indent="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None/>
                <a:defRPr sz="20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ClrTx/>
                <a:buFont typeface="Symbol" panose="05050102010706020507" pitchFamily="18" charset="2"/>
                <a:buNone/>
                <a:defRPr sz="18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ClrTx/>
                <a:buFont typeface="Symbol" panose="05050102010706020507" pitchFamily="18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ClrTx/>
                <a:buFont typeface="Symbol" panose="05050102010706020507" pitchFamily="18" charset="2"/>
                <a:buNone/>
                <a:tabLst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/>
                <a:t>!</a:t>
              </a:r>
              <a:endParaRPr lang="de-DE" dirty="0"/>
            </a:p>
          </p:txBody>
        </p:sp>
      </p:grp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3D39BA62-CB6D-4D87-997C-6E1960DD010E}"/>
              </a:ext>
            </a:extLst>
          </p:cNvPr>
          <p:cNvGrpSpPr/>
          <p:nvPr/>
        </p:nvGrpSpPr>
        <p:grpSpPr>
          <a:xfrm>
            <a:off x="1357890" y="1708390"/>
            <a:ext cx="1332412" cy="1109876"/>
            <a:chOff x="1357890" y="1708390"/>
            <a:chExt cx="1332412" cy="1109876"/>
          </a:xfrm>
        </p:grpSpPr>
        <p:pic>
          <p:nvPicPr>
            <p:cNvPr id="24578" name="Picture 2" descr="Bildergebnis für fabrik icon">
              <a:extLst>
                <a:ext uri="{FF2B5EF4-FFF2-40B4-BE49-F238E27FC236}">
                  <a16:creationId xmlns:a16="http://schemas.microsoft.com/office/drawing/2014/main" id="{2DB92BA2-B8D3-4648-9618-A44D0115C86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54758" y="2059894"/>
              <a:ext cx="758372" cy="7583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" name="Textfeld 2">
              <a:extLst>
                <a:ext uri="{FF2B5EF4-FFF2-40B4-BE49-F238E27FC236}">
                  <a16:creationId xmlns:a16="http://schemas.microsoft.com/office/drawing/2014/main" id="{A244A928-1545-4E01-B971-A932A7D95B68}"/>
                </a:ext>
              </a:extLst>
            </p:cNvPr>
            <p:cNvSpPr txBox="1"/>
            <p:nvPr/>
          </p:nvSpPr>
          <p:spPr>
            <a:xfrm>
              <a:off x="1357890" y="1708390"/>
              <a:ext cx="1332412" cy="276999"/>
            </a:xfrm>
            <a:prstGeom prst="rect">
              <a:avLst/>
            </a:prstGeom>
            <a:ln w="3175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b="1" dirty="0"/>
                <a:t>1. </a:t>
              </a:r>
              <a:r>
                <a:rPr lang="de-DE" sz="1200" b="1" dirty="0" err="1"/>
                <a:t>Tekfor</a:t>
              </a:r>
              <a:endParaRPr lang="de-DE" sz="1200" b="1" dirty="0"/>
            </a:p>
          </p:txBody>
        </p:sp>
      </p:grpSp>
      <p:grpSp>
        <p:nvGrpSpPr>
          <p:cNvPr id="72" name="Gruppieren 71">
            <a:extLst>
              <a:ext uri="{FF2B5EF4-FFF2-40B4-BE49-F238E27FC236}">
                <a16:creationId xmlns:a16="http://schemas.microsoft.com/office/drawing/2014/main" id="{D05FE86E-FBD4-462D-B78D-939F726A5D02}"/>
              </a:ext>
            </a:extLst>
          </p:cNvPr>
          <p:cNvGrpSpPr/>
          <p:nvPr/>
        </p:nvGrpSpPr>
        <p:grpSpPr>
          <a:xfrm>
            <a:off x="4711650" y="1708390"/>
            <a:ext cx="1332412" cy="1109876"/>
            <a:chOff x="1357890" y="1708390"/>
            <a:chExt cx="1332412" cy="1109876"/>
          </a:xfrm>
        </p:grpSpPr>
        <p:pic>
          <p:nvPicPr>
            <p:cNvPr id="73" name="Picture 2" descr="Bildergebnis für fabrik icon">
              <a:extLst>
                <a:ext uri="{FF2B5EF4-FFF2-40B4-BE49-F238E27FC236}">
                  <a16:creationId xmlns:a16="http://schemas.microsoft.com/office/drawing/2014/main" id="{061C3A35-91F3-4784-AB03-820A71F3BF4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54758" y="2059894"/>
              <a:ext cx="758372" cy="7583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4" name="Textfeld 73">
              <a:extLst>
                <a:ext uri="{FF2B5EF4-FFF2-40B4-BE49-F238E27FC236}">
                  <a16:creationId xmlns:a16="http://schemas.microsoft.com/office/drawing/2014/main" id="{B3E9EDDD-76AC-4243-B98A-6F0E4A202422}"/>
                </a:ext>
              </a:extLst>
            </p:cNvPr>
            <p:cNvSpPr txBox="1"/>
            <p:nvPr/>
          </p:nvSpPr>
          <p:spPr>
            <a:xfrm>
              <a:off x="1357890" y="1708390"/>
              <a:ext cx="1332412" cy="276999"/>
            </a:xfrm>
            <a:prstGeom prst="rect">
              <a:avLst/>
            </a:prstGeom>
            <a:ln w="3175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b="1" dirty="0"/>
                <a:t>2. </a:t>
              </a:r>
              <a:r>
                <a:rPr lang="de-DE" sz="1200" b="1" dirty="0" err="1"/>
                <a:t>Eloxierer</a:t>
              </a:r>
              <a:endParaRPr lang="de-DE" sz="1200" b="1" dirty="0"/>
            </a:p>
          </p:txBody>
        </p:sp>
      </p:grpSp>
      <p:grpSp>
        <p:nvGrpSpPr>
          <p:cNvPr id="75" name="Gruppieren 74">
            <a:extLst>
              <a:ext uri="{FF2B5EF4-FFF2-40B4-BE49-F238E27FC236}">
                <a16:creationId xmlns:a16="http://schemas.microsoft.com/office/drawing/2014/main" id="{796E349E-99AD-4BE2-8F15-9BFC0C04AFA3}"/>
              </a:ext>
            </a:extLst>
          </p:cNvPr>
          <p:cNvGrpSpPr/>
          <p:nvPr/>
        </p:nvGrpSpPr>
        <p:grpSpPr>
          <a:xfrm>
            <a:off x="8065410" y="1708390"/>
            <a:ext cx="1332412" cy="1109876"/>
            <a:chOff x="1357890" y="1708390"/>
            <a:chExt cx="1332412" cy="1109876"/>
          </a:xfrm>
        </p:grpSpPr>
        <p:pic>
          <p:nvPicPr>
            <p:cNvPr id="76" name="Picture 2" descr="Bildergebnis für fabrik icon">
              <a:extLst>
                <a:ext uri="{FF2B5EF4-FFF2-40B4-BE49-F238E27FC236}">
                  <a16:creationId xmlns:a16="http://schemas.microsoft.com/office/drawing/2014/main" id="{F2A54747-7994-44C5-B4A5-8ACFC011D1F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54758" y="2059894"/>
              <a:ext cx="758372" cy="7583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7" name="Textfeld 76">
              <a:extLst>
                <a:ext uri="{FF2B5EF4-FFF2-40B4-BE49-F238E27FC236}">
                  <a16:creationId xmlns:a16="http://schemas.microsoft.com/office/drawing/2014/main" id="{552FAFEC-944B-4CCF-95BB-A8D7599645A7}"/>
                </a:ext>
              </a:extLst>
            </p:cNvPr>
            <p:cNvSpPr txBox="1"/>
            <p:nvPr/>
          </p:nvSpPr>
          <p:spPr>
            <a:xfrm>
              <a:off x="1357890" y="1708390"/>
              <a:ext cx="1332412" cy="276999"/>
            </a:xfrm>
            <a:prstGeom prst="rect">
              <a:avLst/>
            </a:prstGeom>
            <a:ln w="3175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b="1" dirty="0"/>
                <a:t>3. Kunde</a:t>
              </a:r>
            </a:p>
          </p:txBody>
        </p:sp>
      </p:grpSp>
      <p:grpSp>
        <p:nvGrpSpPr>
          <p:cNvPr id="82" name="Gruppieren 81">
            <a:extLst>
              <a:ext uri="{FF2B5EF4-FFF2-40B4-BE49-F238E27FC236}">
                <a16:creationId xmlns:a16="http://schemas.microsoft.com/office/drawing/2014/main" id="{C9E0EC7F-2E95-42F5-86CD-1626D46C66E8}"/>
              </a:ext>
            </a:extLst>
          </p:cNvPr>
          <p:cNvGrpSpPr/>
          <p:nvPr/>
        </p:nvGrpSpPr>
        <p:grpSpPr>
          <a:xfrm>
            <a:off x="4499068" y="3040775"/>
            <a:ext cx="1757575" cy="621506"/>
            <a:chOff x="5670830" y="3594908"/>
            <a:chExt cx="1757575" cy="621506"/>
          </a:xfrm>
        </p:grpSpPr>
        <p:grpSp>
          <p:nvGrpSpPr>
            <p:cNvPr id="83" name="Gruppieren 82">
              <a:extLst>
                <a:ext uri="{FF2B5EF4-FFF2-40B4-BE49-F238E27FC236}">
                  <a16:creationId xmlns:a16="http://schemas.microsoft.com/office/drawing/2014/main" id="{98045F7F-B048-4E07-AA47-1CC858905AF4}"/>
                </a:ext>
              </a:extLst>
            </p:cNvPr>
            <p:cNvGrpSpPr/>
            <p:nvPr/>
          </p:nvGrpSpPr>
          <p:grpSpPr>
            <a:xfrm>
              <a:off x="5670830" y="3594908"/>
              <a:ext cx="1757575" cy="621506"/>
              <a:chOff x="5670830" y="3594908"/>
              <a:chExt cx="1757575" cy="621506"/>
            </a:xfrm>
          </p:grpSpPr>
          <p:sp>
            <p:nvSpPr>
              <p:cNvPr id="85" name="Rechteck: abgerundete Ecken 84">
                <a:extLst>
                  <a:ext uri="{FF2B5EF4-FFF2-40B4-BE49-F238E27FC236}">
                    <a16:creationId xmlns:a16="http://schemas.microsoft.com/office/drawing/2014/main" id="{99A3370E-1F73-485E-9A4F-00FEC248333A}"/>
                  </a:ext>
                </a:extLst>
              </p:cNvPr>
              <p:cNvSpPr/>
              <p:nvPr/>
            </p:nvSpPr>
            <p:spPr>
              <a:xfrm>
                <a:off x="5670830" y="3594908"/>
                <a:ext cx="1757575" cy="62150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e-DE" sz="1600">
                  <a:solidFill>
                    <a:schemeClr val="tx1"/>
                  </a:solidFill>
                </a:endParaRPr>
              </a:p>
            </p:txBody>
          </p:sp>
          <p:sp>
            <p:nvSpPr>
              <p:cNvPr id="86" name="Ellipse 85">
                <a:extLst>
                  <a:ext uri="{FF2B5EF4-FFF2-40B4-BE49-F238E27FC236}">
                    <a16:creationId xmlns:a16="http://schemas.microsoft.com/office/drawing/2014/main" id="{0663563F-5CE5-454F-880D-C72BD6C7C092}"/>
                  </a:ext>
                </a:extLst>
              </p:cNvPr>
              <p:cNvSpPr/>
              <p:nvPr/>
            </p:nvSpPr>
            <p:spPr>
              <a:xfrm>
                <a:off x="5904074" y="3689661"/>
                <a:ext cx="432000" cy="432000"/>
              </a:xfrm>
              <a:prstGeom prst="ellipse">
                <a:avLst/>
              </a:prstGeom>
              <a:solidFill>
                <a:schemeClr val="tx1"/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e-DE" sz="160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84" name="Ellipse 83">
              <a:extLst>
                <a:ext uri="{FF2B5EF4-FFF2-40B4-BE49-F238E27FC236}">
                  <a16:creationId xmlns:a16="http://schemas.microsoft.com/office/drawing/2014/main" id="{E366AB0F-9ACD-4DF6-BDB8-0891ED48CB33}"/>
                </a:ext>
              </a:extLst>
            </p:cNvPr>
            <p:cNvSpPr/>
            <p:nvPr/>
          </p:nvSpPr>
          <p:spPr>
            <a:xfrm>
              <a:off x="6703184" y="3685261"/>
              <a:ext cx="432000" cy="432000"/>
            </a:xfrm>
            <a:prstGeom prst="ellipse">
              <a:avLst/>
            </a:prstGeom>
            <a:solidFill>
              <a:srgbClr val="0A4B9B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>
                <a:solidFill>
                  <a:schemeClr val="tx1"/>
                </a:solidFill>
              </a:endParaRPr>
            </a:p>
          </p:txBody>
        </p:sp>
      </p:grpSp>
      <p:grpSp>
        <p:nvGrpSpPr>
          <p:cNvPr id="87" name="Gruppieren 86">
            <a:extLst>
              <a:ext uri="{FF2B5EF4-FFF2-40B4-BE49-F238E27FC236}">
                <a16:creationId xmlns:a16="http://schemas.microsoft.com/office/drawing/2014/main" id="{3048D281-003A-4F73-89FE-7EBF46411FC1}"/>
              </a:ext>
            </a:extLst>
          </p:cNvPr>
          <p:cNvGrpSpPr/>
          <p:nvPr/>
        </p:nvGrpSpPr>
        <p:grpSpPr>
          <a:xfrm>
            <a:off x="7852828" y="3040775"/>
            <a:ext cx="1757575" cy="621506"/>
            <a:chOff x="5670830" y="3594908"/>
            <a:chExt cx="1757575" cy="621506"/>
          </a:xfrm>
        </p:grpSpPr>
        <p:grpSp>
          <p:nvGrpSpPr>
            <p:cNvPr id="89" name="Gruppieren 88">
              <a:extLst>
                <a:ext uri="{FF2B5EF4-FFF2-40B4-BE49-F238E27FC236}">
                  <a16:creationId xmlns:a16="http://schemas.microsoft.com/office/drawing/2014/main" id="{E5E5E2AF-7B6C-4DDD-8E36-8790F056E46F}"/>
                </a:ext>
              </a:extLst>
            </p:cNvPr>
            <p:cNvGrpSpPr/>
            <p:nvPr/>
          </p:nvGrpSpPr>
          <p:grpSpPr>
            <a:xfrm>
              <a:off x="5670830" y="3594908"/>
              <a:ext cx="1757575" cy="621506"/>
              <a:chOff x="5670830" y="3594908"/>
              <a:chExt cx="1757575" cy="621506"/>
            </a:xfrm>
          </p:grpSpPr>
          <p:sp>
            <p:nvSpPr>
              <p:cNvPr id="91" name="Rechteck: abgerundete Ecken 90">
                <a:extLst>
                  <a:ext uri="{FF2B5EF4-FFF2-40B4-BE49-F238E27FC236}">
                    <a16:creationId xmlns:a16="http://schemas.microsoft.com/office/drawing/2014/main" id="{8C7CDCA3-2CEE-4B02-84F9-758BD54344E7}"/>
                  </a:ext>
                </a:extLst>
              </p:cNvPr>
              <p:cNvSpPr/>
              <p:nvPr/>
            </p:nvSpPr>
            <p:spPr>
              <a:xfrm>
                <a:off x="5670830" y="3594908"/>
                <a:ext cx="1757575" cy="62150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e-DE" sz="1600">
                  <a:solidFill>
                    <a:schemeClr val="tx1"/>
                  </a:solidFill>
                </a:endParaRPr>
              </a:p>
            </p:txBody>
          </p:sp>
          <p:sp>
            <p:nvSpPr>
              <p:cNvPr id="92" name="Ellipse 91">
                <a:extLst>
                  <a:ext uri="{FF2B5EF4-FFF2-40B4-BE49-F238E27FC236}">
                    <a16:creationId xmlns:a16="http://schemas.microsoft.com/office/drawing/2014/main" id="{D4CFA0CB-A7AF-488B-B179-08C97F7E71BC}"/>
                  </a:ext>
                </a:extLst>
              </p:cNvPr>
              <p:cNvSpPr/>
              <p:nvPr/>
            </p:nvSpPr>
            <p:spPr>
              <a:xfrm>
                <a:off x="5904074" y="3689661"/>
                <a:ext cx="432000" cy="432000"/>
              </a:xfrm>
              <a:prstGeom prst="ellipse">
                <a:avLst/>
              </a:prstGeom>
              <a:solidFill>
                <a:schemeClr val="tx1"/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e-DE" sz="160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90" name="Ellipse 89">
              <a:extLst>
                <a:ext uri="{FF2B5EF4-FFF2-40B4-BE49-F238E27FC236}">
                  <a16:creationId xmlns:a16="http://schemas.microsoft.com/office/drawing/2014/main" id="{3AD8934D-639F-4634-9616-C0DC7F5FCFB5}"/>
                </a:ext>
              </a:extLst>
            </p:cNvPr>
            <p:cNvSpPr/>
            <p:nvPr/>
          </p:nvSpPr>
          <p:spPr>
            <a:xfrm>
              <a:off x="6703184" y="3685261"/>
              <a:ext cx="432000" cy="432000"/>
            </a:xfrm>
            <a:prstGeom prst="ellipse">
              <a:avLst/>
            </a:prstGeom>
            <a:solidFill>
              <a:srgbClr val="0A4B9B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>
                <a:solidFill>
                  <a:schemeClr val="tx1"/>
                </a:solidFill>
              </a:endParaRPr>
            </a:p>
          </p:txBody>
        </p:sp>
      </p:grpSp>
      <p:grpSp>
        <p:nvGrpSpPr>
          <p:cNvPr id="96" name="Gruppieren 95">
            <a:extLst>
              <a:ext uri="{FF2B5EF4-FFF2-40B4-BE49-F238E27FC236}">
                <a16:creationId xmlns:a16="http://schemas.microsoft.com/office/drawing/2014/main" id="{832E0229-AA5B-4E73-84D3-FF1A464AE829}"/>
              </a:ext>
            </a:extLst>
          </p:cNvPr>
          <p:cNvGrpSpPr/>
          <p:nvPr/>
        </p:nvGrpSpPr>
        <p:grpSpPr>
          <a:xfrm>
            <a:off x="1213890" y="5543005"/>
            <a:ext cx="2681210" cy="288000"/>
            <a:chOff x="654173" y="5421087"/>
            <a:chExt cx="2681210" cy="288000"/>
          </a:xfrm>
        </p:grpSpPr>
        <p:sp>
          <p:nvSpPr>
            <p:cNvPr id="97" name="Ellipse 96">
              <a:extLst>
                <a:ext uri="{FF2B5EF4-FFF2-40B4-BE49-F238E27FC236}">
                  <a16:creationId xmlns:a16="http://schemas.microsoft.com/office/drawing/2014/main" id="{62DE0EC7-D4C9-482E-BBE6-09AB2308A52A}"/>
                </a:ext>
              </a:extLst>
            </p:cNvPr>
            <p:cNvSpPr/>
            <p:nvPr/>
          </p:nvSpPr>
          <p:spPr>
            <a:xfrm>
              <a:off x="654173" y="5421087"/>
              <a:ext cx="288000" cy="288000"/>
            </a:xfrm>
            <a:prstGeom prst="ellipse">
              <a:avLst/>
            </a:prstGeom>
            <a:solidFill>
              <a:srgbClr val="00B050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>
                <a:solidFill>
                  <a:schemeClr val="tx1"/>
                </a:solidFill>
              </a:endParaRPr>
            </a:p>
          </p:txBody>
        </p:sp>
        <p:sp>
          <p:nvSpPr>
            <p:cNvPr id="98" name="Textfeld 97">
              <a:extLst>
                <a:ext uri="{FF2B5EF4-FFF2-40B4-BE49-F238E27FC236}">
                  <a16:creationId xmlns:a16="http://schemas.microsoft.com/office/drawing/2014/main" id="{7667D59C-0CC9-4908-ABB2-E0F6FC047E73}"/>
                </a:ext>
              </a:extLst>
            </p:cNvPr>
            <p:cNvSpPr txBox="1"/>
            <p:nvPr/>
          </p:nvSpPr>
          <p:spPr>
            <a:xfrm>
              <a:off x="995041" y="5426588"/>
              <a:ext cx="2340342" cy="276999"/>
            </a:xfrm>
            <a:prstGeom prst="rect">
              <a:avLst/>
            </a:prstGeom>
            <a:ln w="3175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de-DE" sz="1200" dirty="0"/>
                <a:t>Real-Time Streaming Analytics</a:t>
              </a:r>
            </a:p>
          </p:txBody>
        </p:sp>
      </p:grpSp>
      <p:grpSp>
        <p:nvGrpSpPr>
          <p:cNvPr id="99" name="Gruppieren 98">
            <a:extLst>
              <a:ext uri="{FF2B5EF4-FFF2-40B4-BE49-F238E27FC236}">
                <a16:creationId xmlns:a16="http://schemas.microsoft.com/office/drawing/2014/main" id="{99EE496C-AD74-461E-BD17-53EA87A115F1}"/>
              </a:ext>
            </a:extLst>
          </p:cNvPr>
          <p:cNvGrpSpPr/>
          <p:nvPr/>
        </p:nvGrpSpPr>
        <p:grpSpPr>
          <a:xfrm>
            <a:off x="3895100" y="5537505"/>
            <a:ext cx="2972946" cy="288000"/>
            <a:chOff x="654173" y="5421087"/>
            <a:chExt cx="2972946" cy="288000"/>
          </a:xfrm>
        </p:grpSpPr>
        <p:sp>
          <p:nvSpPr>
            <p:cNvPr id="100" name="Ellipse 99">
              <a:extLst>
                <a:ext uri="{FF2B5EF4-FFF2-40B4-BE49-F238E27FC236}">
                  <a16:creationId xmlns:a16="http://schemas.microsoft.com/office/drawing/2014/main" id="{B7B51E06-9721-4839-BD03-F5BE22B4FDE7}"/>
                </a:ext>
              </a:extLst>
            </p:cNvPr>
            <p:cNvSpPr/>
            <p:nvPr/>
          </p:nvSpPr>
          <p:spPr>
            <a:xfrm>
              <a:off x="654173" y="5421087"/>
              <a:ext cx="288000" cy="288000"/>
            </a:xfrm>
            <a:prstGeom prst="ellipse">
              <a:avLst/>
            </a:prstGeom>
            <a:solidFill>
              <a:srgbClr val="D40E3A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>
                <a:solidFill>
                  <a:schemeClr val="tx1"/>
                </a:solidFill>
              </a:endParaRPr>
            </a:p>
          </p:txBody>
        </p:sp>
        <p:sp>
          <p:nvSpPr>
            <p:cNvPr id="101" name="Textfeld 100">
              <a:extLst>
                <a:ext uri="{FF2B5EF4-FFF2-40B4-BE49-F238E27FC236}">
                  <a16:creationId xmlns:a16="http://schemas.microsoft.com/office/drawing/2014/main" id="{F3A02567-37BA-4710-A68A-BD3F3BC6119E}"/>
                </a:ext>
              </a:extLst>
            </p:cNvPr>
            <p:cNvSpPr txBox="1"/>
            <p:nvPr/>
          </p:nvSpPr>
          <p:spPr>
            <a:xfrm>
              <a:off x="995040" y="5426588"/>
              <a:ext cx="2632079" cy="276999"/>
            </a:xfrm>
            <a:prstGeom prst="rect">
              <a:avLst/>
            </a:prstGeom>
            <a:ln w="3175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de-DE" sz="1200" dirty="0"/>
                <a:t>Modell Training/Transfer Learning</a:t>
              </a:r>
            </a:p>
          </p:txBody>
        </p:sp>
      </p:grpSp>
      <p:grpSp>
        <p:nvGrpSpPr>
          <p:cNvPr id="102" name="Gruppieren 101">
            <a:extLst>
              <a:ext uri="{FF2B5EF4-FFF2-40B4-BE49-F238E27FC236}">
                <a16:creationId xmlns:a16="http://schemas.microsoft.com/office/drawing/2014/main" id="{67EED68E-6612-49B2-A56A-ACD4B1A6EB47}"/>
              </a:ext>
            </a:extLst>
          </p:cNvPr>
          <p:cNvGrpSpPr/>
          <p:nvPr/>
        </p:nvGrpSpPr>
        <p:grpSpPr>
          <a:xfrm>
            <a:off x="8152257" y="5537505"/>
            <a:ext cx="1200754" cy="288000"/>
            <a:chOff x="654173" y="5421087"/>
            <a:chExt cx="1200754" cy="288000"/>
          </a:xfrm>
        </p:grpSpPr>
        <p:sp>
          <p:nvSpPr>
            <p:cNvPr id="103" name="Ellipse 102">
              <a:extLst>
                <a:ext uri="{FF2B5EF4-FFF2-40B4-BE49-F238E27FC236}">
                  <a16:creationId xmlns:a16="http://schemas.microsoft.com/office/drawing/2014/main" id="{B70E4CFC-327D-4B71-96DD-CA1C938B5EF3}"/>
                </a:ext>
              </a:extLst>
            </p:cNvPr>
            <p:cNvSpPr/>
            <p:nvPr/>
          </p:nvSpPr>
          <p:spPr>
            <a:xfrm>
              <a:off x="654173" y="5421087"/>
              <a:ext cx="288000" cy="288000"/>
            </a:xfrm>
            <a:prstGeom prst="ellipse">
              <a:avLst/>
            </a:prstGeom>
            <a:solidFill>
              <a:srgbClr val="0A4B9B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>
                <a:solidFill>
                  <a:schemeClr val="tx1"/>
                </a:solidFill>
              </a:endParaRPr>
            </a:p>
          </p:txBody>
        </p:sp>
        <p:sp>
          <p:nvSpPr>
            <p:cNvPr id="104" name="Textfeld 103">
              <a:extLst>
                <a:ext uri="{FF2B5EF4-FFF2-40B4-BE49-F238E27FC236}">
                  <a16:creationId xmlns:a16="http://schemas.microsoft.com/office/drawing/2014/main" id="{7CBD687B-0486-450B-A1FB-E00FD2D6070E}"/>
                </a:ext>
              </a:extLst>
            </p:cNvPr>
            <p:cNvSpPr txBox="1"/>
            <p:nvPr/>
          </p:nvSpPr>
          <p:spPr>
            <a:xfrm>
              <a:off x="995041" y="5426588"/>
              <a:ext cx="859886" cy="276999"/>
            </a:xfrm>
            <a:prstGeom prst="rect">
              <a:avLst/>
            </a:prstGeom>
            <a:ln w="3175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de-DE" sz="1200" dirty="0"/>
                <a:t>HMI</a:t>
              </a:r>
            </a:p>
          </p:txBody>
        </p:sp>
      </p:grpSp>
      <p:grpSp>
        <p:nvGrpSpPr>
          <p:cNvPr id="105" name="Gruppieren 104">
            <a:extLst>
              <a:ext uri="{FF2B5EF4-FFF2-40B4-BE49-F238E27FC236}">
                <a16:creationId xmlns:a16="http://schemas.microsoft.com/office/drawing/2014/main" id="{FED0074B-EACB-4C1E-ADCF-5CBEFD187BC7}"/>
              </a:ext>
            </a:extLst>
          </p:cNvPr>
          <p:cNvGrpSpPr/>
          <p:nvPr/>
        </p:nvGrpSpPr>
        <p:grpSpPr>
          <a:xfrm>
            <a:off x="6782596" y="5532005"/>
            <a:ext cx="1083756" cy="288000"/>
            <a:chOff x="654173" y="5421087"/>
            <a:chExt cx="1083756" cy="288000"/>
          </a:xfrm>
        </p:grpSpPr>
        <p:sp>
          <p:nvSpPr>
            <p:cNvPr id="106" name="Ellipse 105">
              <a:extLst>
                <a:ext uri="{FF2B5EF4-FFF2-40B4-BE49-F238E27FC236}">
                  <a16:creationId xmlns:a16="http://schemas.microsoft.com/office/drawing/2014/main" id="{5C055421-CCE2-49CA-B58F-E372B0BD9FCC}"/>
                </a:ext>
              </a:extLst>
            </p:cNvPr>
            <p:cNvSpPr/>
            <p:nvPr/>
          </p:nvSpPr>
          <p:spPr>
            <a:xfrm>
              <a:off x="654173" y="5421087"/>
              <a:ext cx="288000" cy="288000"/>
            </a:xfrm>
            <a:prstGeom prst="ellipse">
              <a:avLst/>
            </a:prstGeom>
            <a:solidFill>
              <a:schemeClr val="tx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>
                <a:solidFill>
                  <a:schemeClr val="tx1"/>
                </a:solidFill>
              </a:endParaRPr>
            </a:p>
          </p:txBody>
        </p:sp>
        <p:sp>
          <p:nvSpPr>
            <p:cNvPr id="107" name="Textfeld 106">
              <a:extLst>
                <a:ext uri="{FF2B5EF4-FFF2-40B4-BE49-F238E27FC236}">
                  <a16:creationId xmlns:a16="http://schemas.microsoft.com/office/drawing/2014/main" id="{8D5EBF6F-E9BC-45D4-B68E-586525D7E9ED}"/>
                </a:ext>
              </a:extLst>
            </p:cNvPr>
            <p:cNvSpPr txBox="1"/>
            <p:nvPr/>
          </p:nvSpPr>
          <p:spPr>
            <a:xfrm>
              <a:off x="995041" y="5426588"/>
              <a:ext cx="742888" cy="276999"/>
            </a:xfrm>
            <a:prstGeom prst="rect">
              <a:avLst/>
            </a:prstGeom>
            <a:ln w="3175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de-DE" sz="1200" dirty="0"/>
                <a:t>Kamera</a:t>
              </a:r>
            </a:p>
          </p:txBody>
        </p:sp>
      </p:grpSp>
      <p:grpSp>
        <p:nvGrpSpPr>
          <p:cNvPr id="108" name="Gruppieren 107">
            <a:extLst>
              <a:ext uri="{FF2B5EF4-FFF2-40B4-BE49-F238E27FC236}">
                <a16:creationId xmlns:a16="http://schemas.microsoft.com/office/drawing/2014/main" id="{A3285CAE-1104-471E-8084-74EF91131CBE}"/>
              </a:ext>
            </a:extLst>
          </p:cNvPr>
          <p:cNvGrpSpPr/>
          <p:nvPr/>
        </p:nvGrpSpPr>
        <p:grpSpPr>
          <a:xfrm>
            <a:off x="9505549" y="5526505"/>
            <a:ext cx="1159009" cy="288000"/>
            <a:chOff x="8808859" y="6214484"/>
            <a:chExt cx="1159009" cy="288000"/>
          </a:xfrm>
        </p:grpSpPr>
        <p:sp>
          <p:nvSpPr>
            <p:cNvPr id="109" name="Textfeld 108">
              <a:extLst>
                <a:ext uri="{FF2B5EF4-FFF2-40B4-BE49-F238E27FC236}">
                  <a16:creationId xmlns:a16="http://schemas.microsoft.com/office/drawing/2014/main" id="{9160DE90-D05F-47D4-B3C1-0E984B6DFA7F}"/>
                </a:ext>
              </a:extLst>
            </p:cNvPr>
            <p:cNvSpPr txBox="1"/>
            <p:nvPr/>
          </p:nvSpPr>
          <p:spPr>
            <a:xfrm>
              <a:off x="9107983" y="6225485"/>
              <a:ext cx="859885" cy="276999"/>
            </a:xfrm>
            <a:prstGeom prst="rect">
              <a:avLst/>
            </a:prstGeom>
            <a:ln w="3175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de-DE" sz="1200" dirty="0"/>
                <a:t>Hardware</a:t>
              </a:r>
            </a:p>
          </p:txBody>
        </p:sp>
        <p:sp>
          <p:nvSpPr>
            <p:cNvPr id="110" name="Rechteck: abgerundete Ecken 109">
              <a:extLst>
                <a:ext uri="{FF2B5EF4-FFF2-40B4-BE49-F238E27FC236}">
                  <a16:creationId xmlns:a16="http://schemas.microsoft.com/office/drawing/2014/main" id="{333EFE5E-5C6F-499E-8BA4-99EC70100D66}"/>
                </a:ext>
              </a:extLst>
            </p:cNvPr>
            <p:cNvSpPr/>
            <p:nvPr/>
          </p:nvSpPr>
          <p:spPr>
            <a:xfrm>
              <a:off x="8808859" y="6214484"/>
              <a:ext cx="288000" cy="288000"/>
            </a:xfrm>
            <a:prstGeom prst="roundRect">
              <a:avLst/>
            </a:prstGeom>
            <a:noFill/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>
                <a:solidFill>
                  <a:schemeClr val="tx1"/>
                </a:solidFill>
              </a:endParaRPr>
            </a:p>
          </p:txBody>
        </p:sp>
      </p:grpSp>
      <p:sp>
        <p:nvSpPr>
          <p:cNvPr id="50" name="Ellipse 49">
            <a:extLst>
              <a:ext uri="{FF2B5EF4-FFF2-40B4-BE49-F238E27FC236}">
                <a16:creationId xmlns:a16="http://schemas.microsoft.com/office/drawing/2014/main" id="{CBAAA12E-265C-4058-81F4-8B8DCD2BF547}"/>
              </a:ext>
            </a:extLst>
          </p:cNvPr>
          <p:cNvSpPr/>
          <p:nvPr/>
        </p:nvSpPr>
        <p:spPr>
          <a:xfrm>
            <a:off x="5110732" y="3993806"/>
            <a:ext cx="432000" cy="432000"/>
          </a:xfrm>
          <a:prstGeom prst="ellipse">
            <a:avLst/>
          </a:prstGeom>
          <a:solidFill>
            <a:srgbClr val="00B050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>
              <a:solidFill>
                <a:schemeClr val="tx1"/>
              </a:solidFill>
            </a:endParaRPr>
          </a:p>
        </p:txBody>
      </p:sp>
      <p:sp>
        <p:nvSpPr>
          <p:cNvPr id="51" name="Ellipse 50">
            <a:extLst>
              <a:ext uri="{FF2B5EF4-FFF2-40B4-BE49-F238E27FC236}">
                <a16:creationId xmlns:a16="http://schemas.microsoft.com/office/drawing/2014/main" id="{9C0A8360-FC73-4AFA-99AC-CFF2A82058CC}"/>
              </a:ext>
            </a:extLst>
          </p:cNvPr>
          <p:cNvSpPr/>
          <p:nvPr/>
        </p:nvSpPr>
        <p:spPr>
          <a:xfrm>
            <a:off x="5139164" y="4703696"/>
            <a:ext cx="432000" cy="432000"/>
          </a:xfrm>
          <a:prstGeom prst="ellipse">
            <a:avLst/>
          </a:prstGeom>
          <a:solidFill>
            <a:srgbClr val="D40E3A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>
              <a:solidFill>
                <a:schemeClr val="tx1"/>
              </a:solidFill>
            </a:endParaRPr>
          </a:p>
        </p:txBody>
      </p:sp>
      <p:sp>
        <p:nvSpPr>
          <p:cNvPr id="52" name="Textfeld 51">
            <a:extLst>
              <a:ext uri="{FF2B5EF4-FFF2-40B4-BE49-F238E27FC236}">
                <a16:creationId xmlns:a16="http://schemas.microsoft.com/office/drawing/2014/main" id="{7F1676F6-C596-4165-A939-757690EDF060}"/>
              </a:ext>
            </a:extLst>
          </p:cNvPr>
          <p:cNvSpPr txBox="1"/>
          <p:nvPr/>
        </p:nvSpPr>
        <p:spPr>
          <a:xfrm>
            <a:off x="5101281" y="4082512"/>
            <a:ext cx="375071" cy="276999"/>
          </a:xfrm>
          <a:prstGeom prst="rect">
            <a:avLst/>
          </a:prstGeom>
          <a:ln w="3175">
            <a:noFill/>
          </a:ln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ü"/>
            </a:pPr>
            <a:r>
              <a:rPr lang="de-DE" sz="1200" dirty="0">
                <a:solidFill>
                  <a:schemeClr val="bg1"/>
                </a:solidFill>
              </a:rPr>
              <a:t>X</a:t>
            </a:r>
          </a:p>
        </p:txBody>
      </p:sp>
      <p:sp>
        <p:nvSpPr>
          <p:cNvPr id="53" name="Rechteck: abgerundete Ecken 52">
            <a:extLst>
              <a:ext uri="{FF2B5EF4-FFF2-40B4-BE49-F238E27FC236}">
                <a16:creationId xmlns:a16="http://schemas.microsoft.com/office/drawing/2014/main" id="{4C0EDCB1-6D57-4D6D-8FFC-83EFFA4331E0}"/>
              </a:ext>
            </a:extLst>
          </p:cNvPr>
          <p:cNvSpPr/>
          <p:nvPr/>
        </p:nvSpPr>
        <p:spPr>
          <a:xfrm>
            <a:off x="4908518" y="3893396"/>
            <a:ext cx="898489" cy="621506"/>
          </a:xfrm>
          <a:prstGeom prst="round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>
              <a:solidFill>
                <a:schemeClr val="tx1"/>
              </a:solidFill>
            </a:endParaRPr>
          </a:p>
        </p:txBody>
      </p:sp>
      <p:sp>
        <p:nvSpPr>
          <p:cNvPr id="54" name="Rechteck: abgerundete Ecken 53">
            <a:extLst>
              <a:ext uri="{FF2B5EF4-FFF2-40B4-BE49-F238E27FC236}">
                <a16:creationId xmlns:a16="http://schemas.microsoft.com/office/drawing/2014/main" id="{CE3D856A-A601-4A1F-8A37-5F188DDCB917}"/>
              </a:ext>
            </a:extLst>
          </p:cNvPr>
          <p:cNvSpPr/>
          <p:nvPr/>
        </p:nvSpPr>
        <p:spPr>
          <a:xfrm>
            <a:off x="4905920" y="4608943"/>
            <a:ext cx="898489" cy="621506"/>
          </a:xfrm>
          <a:prstGeom prst="round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>
              <a:solidFill>
                <a:schemeClr val="tx1"/>
              </a:solidFill>
            </a:endParaRPr>
          </a:p>
        </p:txBody>
      </p:sp>
      <p:sp>
        <p:nvSpPr>
          <p:cNvPr id="55" name="Ellipse 54">
            <a:extLst>
              <a:ext uri="{FF2B5EF4-FFF2-40B4-BE49-F238E27FC236}">
                <a16:creationId xmlns:a16="http://schemas.microsoft.com/office/drawing/2014/main" id="{3B2E38CC-E0C7-4836-9CC5-13788C07EA11}"/>
              </a:ext>
            </a:extLst>
          </p:cNvPr>
          <p:cNvSpPr/>
          <p:nvPr/>
        </p:nvSpPr>
        <p:spPr>
          <a:xfrm>
            <a:off x="8528846" y="3989671"/>
            <a:ext cx="432000" cy="432000"/>
          </a:xfrm>
          <a:prstGeom prst="ellipse">
            <a:avLst/>
          </a:prstGeom>
          <a:solidFill>
            <a:srgbClr val="00B050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>
              <a:solidFill>
                <a:schemeClr val="tx1"/>
              </a:solidFill>
            </a:endParaRPr>
          </a:p>
        </p:txBody>
      </p:sp>
      <p:sp>
        <p:nvSpPr>
          <p:cNvPr id="56" name="Ellipse 55">
            <a:extLst>
              <a:ext uri="{FF2B5EF4-FFF2-40B4-BE49-F238E27FC236}">
                <a16:creationId xmlns:a16="http://schemas.microsoft.com/office/drawing/2014/main" id="{F6E45410-7615-48CF-A84C-9EA5961AB2C0}"/>
              </a:ext>
            </a:extLst>
          </p:cNvPr>
          <p:cNvSpPr/>
          <p:nvPr/>
        </p:nvSpPr>
        <p:spPr>
          <a:xfrm>
            <a:off x="8557278" y="4699561"/>
            <a:ext cx="432000" cy="432000"/>
          </a:xfrm>
          <a:prstGeom prst="ellipse">
            <a:avLst/>
          </a:prstGeom>
          <a:solidFill>
            <a:srgbClr val="D40E3A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>
              <a:solidFill>
                <a:schemeClr val="tx1"/>
              </a:solidFill>
            </a:endParaRPr>
          </a:p>
        </p:txBody>
      </p:sp>
      <p:sp>
        <p:nvSpPr>
          <p:cNvPr id="57" name="Textfeld 56">
            <a:extLst>
              <a:ext uri="{FF2B5EF4-FFF2-40B4-BE49-F238E27FC236}">
                <a16:creationId xmlns:a16="http://schemas.microsoft.com/office/drawing/2014/main" id="{DC30ECBD-2232-4A59-89F6-B4727AB5C771}"/>
              </a:ext>
            </a:extLst>
          </p:cNvPr>
          <p:cNvSpPr txBox="1"/>
          <p:nvPr/>
        </p:nvSpPr>
        <p:spPr>
          <a:xfrm>
            <a:off x="8519395" y="4078377"/>
            <a:ext cx="375071" cy="276999"/>
          </a:xfrm>
          <a:prstGeom prst="rect">
            <a:avLst/>
          </a:prstGeom>
          <a:ln w="3175">
            <a:noFill/>
          </a:ln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ü"/>
            </a:pPr>
            <a:r>
              <a:rPr lang="de-DE" sz="1200" dirty="0">
                <a:solidFill>
                  <a:schemeClr val="bg1"/>
                </a:solidFill>
              </a:rPr>
              <a:t>X</a:t>
            </a:r>
          </a:p>
        </p:txBody>
      </p:sp>
      <p:sp>
        <p:nvSpPr>
          <p:cNvPr id="58" name="Rechteck: abgerundete Ecken 57">
            <a:extLst>
              <a:ext uri="{FF2B5EF4-FFF2-40B4-BE49-F238E27FC236}">
                <a16:creationId xmlns:a16="http://schemas.microsoft.com/office/drawing/2014/main" id="{B0304475-78C5-4241-B36A-FA3C17C690DB}"/>
              </a:ext>
            </a:extLst>
          </p:cNvPr>
          <p:cNvSpPr/>
          <p:nvPr/>
        </p:nvSpPr>
        <p:spPr>
          <a:xfrm>
            <a:off x="8326632" y="3889261"/>
            <a:ext cx="898489" cy="621506"/>
          </a:xfrm>
          <a:prstGeom prst="round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>
              <a:solidFill>
                <a:schemeClr val="tx1"/>
              </a:solidFill>
            </a:endParaRPr>
          </a:p>
        </p:txBody>
      </p:sp>
      <p:sp>
        <p:nvSpPr>
          <p:cNvPr id="59" name="Rechteck: abgerundete Ecken 58">
            <a:extLst>
              <a:ext uri="{FF2B5EF4-FFF2-40B4-BE49-F238E27FC236}">
                <a16:creationId xmlns:a16="http://schemas.microsoft.com/office/drawing/2014/main" id="{40C8EC87-52B7-40D4-9BD1-9E35B57E6535}"/>
              </a:ext>
            </a:extLst>
          </p:cNvPr>
          <p:cNvSpPr/>
          <p:nvPr/>
        </p:nvSpPr>
        <p:spPr>
          <a:xfrm>
            <a:off x="8324034" y="4604808"/>
            <a:ext cx="898489" cy="621506"/>
          </a:xfrm>
          <a:prstGeom prst="round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524943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el 1"/>
          <p:cNvSpPr txBox="1">
            <a:spLocks/>
          </p:cNvSpPr>
          <p:nvPr/>
        </p:nvSpPr>
        <p:spPr>
          <a:xfrm>
            <a:off x="382588" y="919195"/>
            <a:ext cx="9674225" cy="828000"/>
          </a:xfrm>
          <a:prstGeom prst="rect">
            <a:avLst/>
          </a:prstGeom>
        </p:spPr>
        <p:txBody>
          <a:bodyPr vert="horz" lIns="36000" tIns="36000" rIns="36000" bIns="36000" rtlCol="0" anchor="t">
            <a:noAutofit/>
          </a:bodyPr>
          <a:lstStyle>
            <a:lvl1pPr algn="l" defTabSz="685800" rtl="0" eaLnBrk="1" latinLnBrk="0" hangingPunct="1">
              <a:lnSpc>
                <a:spcPts val="2175"/>
              </a:lnSpc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3200" dirty="0" err="1"/>
              <a:t>Quox</a:t>
            </a:r>
            <a:r>
              <a:rPr lang="de-DE" sz="3200" dirty="0"/>
              <a:t> – verteiltes System II/II</a:t>
            </a:r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6CC68E8A-E60D-4571-B13F-DC047C7BB89F}"/>
              </a:ext>
            </a:extLst>
          </p:cNvPr>
          <p:cNvGrpSpPr/>
          <p:nvPr/>
        </p:nvGrpSpPr>
        <p:grpSpPr>
          <a:xfrm>
            <a:off x="1145308" y="3040775"/>
            <a:ext cx="1757575" cy="621506"/>
            <a:chOff x="5670830" y="3594908"/>
            <a:chExt cx="1757575" cy="621506"/>
          </a:xfrm>
        </p:grpSpPr>
        <p:grpSp>
          <p:nvGrpSpPr>
            <p:cNvPr id="9" name="Gruppieren 8">
              <a:extLst>
                <a:ext uri="{FF2B5EF4-FFF2-40B4-BE49-F238E27FC236}">
                  <a16:creationId xmlns:a16="http://schemas.microsoft.com/office/drawing/2014/main" id="{3FD34F55-ABB6-4629-AE64-897D33706B45}"/>
                </a:ext>
              </a:extLst>
            </p:cNvPr>
            <p:cNvGrpSpPr/>
            <p:nvPr/>
          </p:nvGrpSpPr>
          <p:grpSpPr>
            <a:xfrm>
              <a:off x="5670830" y="3594908"/>
              <a:ext cx="1757575" cy="621506"/>
              <a:chOff x="5670830" y="3594908"/>
              <a:chExt cx="1757575" cy="621506"/>
            </a:xfrm>
          </p:grpSpPr>
          <p:sp>
            <p:nvSpPr>
              <p:cNvPr id="78" name="Rechteck: abgerundete Ecken 77">
                <a:extLst>
                  <a:ext uri="{FF2B5EF4-FFF2-40B4-BE49-F238E27FC236}">
                    <a16:creationId xmlns:a16="http://schemas.microsoft.com/office/drawing/2014/main" id="{CC69B66E-B0FC-4F46-9200-6064E13C8027}"/>
                  </a:ext>
                </a:extLst>
              </p:cNvPr>
              <p:cNvSpPr/>
              <p:nvPr/>
            </p:nvSpPr>
            <p:spPr>
              <a:xfrm>
                <a:off x="5670830" y="3594908"/>
                <a:ext cx="1757575" cy="62150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e-DE" sz="1600">
                  <a:solidFill>
                    <a:schemeClr val="tx1"/>
                  </a:solidFill>
                </a:endParaRPr>
              </a:p>
            </p:txBody>
          </p:sp>
          <p:sp>
            <p:nvSpPr>
              <p:cNvPr id="79" name="Ellipse 78">
                <a:extLst>
                  <a:ext uri="{FF2B5EF4-FFF2-40B4-BE49-F238E27FC236}">
                    <a16:creationId xmlns:a16="http://schemas.microsoft.com/office/drawing/2014/main" id="{847D97ED-0EF5-4560-B977-46FD2992EC90}"/>
                  </a:ext>
                </a:extLst>
              </p:cNvPr>
              <p:cNvSpPr/>
              <p:nvPr/>
            </p:nvSpPr>
            <p:spPr>
              <a:xfrm>
                <a:off x="5904074" y="3689661"/>
                <a:ext cx="432000" cy="432000"/>
              </a:xfrm>
              <a:prstGeom prst="ellipse">
                <a:avLst/>
              </a:prstGeom>
              <a:solidFill>
                <a:schemeClr val="tx1"/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e-DE" sz="160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98" name="Ellipse 197">
              <a:extLst>
                <a:ext uri="{FF2B5EF4-FFF2-40B4-BE49-F238E27FC236}">
                  <a16:creationId xmlns:a16="http://schemas.microsoft.com/office/drawing/2014/main" id="{8A59AA09-EA59-4A84-AF43-19A308F642EE}"/>
                </a:ext>
              </a:extLst>
            </p:cNvPr>
            <p:cNvSpPr/>
            <p:nvPr/>
          </p:nvSpPr>
          <p:spPr>
            <a:xfrm>
              <a:off x="6703184" y="3685261"/>
              <a:ext cx="432000" cy="432000"/>
            </a:xfrm>
            <a:prstGeom prst="ellipse">
              <a:avLst/>
            </a:prstGeom>
            <a:solidFill>
              <a:srgbClr val="0A4B9B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>
                <a:solidFill>
                  <a:schemeClr val="tx1"/>
                </a:solidFill>
              </a:endParaRPr>
            </a:p>
          </p:txBody>
        </p:sp>
      </p:grpSp>
      <p:sp>
        <p:nvSpPr>
          <p:cNvPr id="199" name="Ellipse 198">
            <a:extLst>
              <a:ext uri="{FF2B5EF4-FFF2-40B4-BE49-F238E27FC236}">
                <a16:creationId xmlns:a16="http://schemas.microsoft.com/office/drawing/2014/main" id="{C74F52BB-BA57-4F1B-AAFB-FA49247A0E4E}"/>
              </a:ext>
            </a:extLst>
          </p:cNvPr>
          <p:cNvSpPr/>
          <p:nvPr/>
        </p:nvSpPr>
        <p:spPr>
          <a:xfrm>
            <a:off x="1805702" y="3999913"/>
            <a:ext cx="432000" cy="432000"/>
          </a:xfrm>
          <a:prstGeom prst="ellipse">
            <a:avLst/>
          </a:prstGeom>
          <a:solidFill>
            <a:srgbClr val="00B050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>
              <a:solidFill>
                <a:schemeClr val="tx1"/>
              </a:solidFill>
            </a:endParaRPr>
          </a:p>
        </p:txBody>
      </p:sp>
      <p:sp>
        <p:nvSpPr>
          <p:cNvPr id="200" name="Ellipse 199">
            <a:extLst>
              <a:ext uri="{FF2B5EF4-FFF2-40B4-BE49-F238E27FC236}">
                <a16:creationId xmlns:a16="http://schemas.microsoft.com/office/drawing/2014/main" id="{E0985334-97DB-4829-81BB-BB885B7FE5C0}"/>
              </a:ext>
            </a:extLst>
          </p:cNvPr>
          <p:cNvSpPr/>
          <p:nvPr/>
        </p:nvSpPr>
        <p:spPr>
          <a:xfrm>
            <a:off x="1834134" y="4709803"/>
            <a:ext cx="432000" cy="432000"/>
          </a:xfrm>
          <a:prstGeom prst="ellipse">
            <a:avLst/>
          </a:prstGeom>
          <a:solidFill>
            <a:srgbClr val="D40E3A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>
              <a:solidFill>
                <a:schemeClr val="tx1"/>
              </a:solidFill>
            </a:endParaRPr>
          </a:p>
        </p:txBody>
      </p:sp>
      <p:sp>
        <p:nvSpPr>
          <p:cNvPr id="202" name="Textfeld 201">
            <a:extLst>
              <a:ext uri="{FF2B5EF4-FFF2-40B4-BE49-F238E27FC236}">
                <a16:creationId xmlns:a16="http://schemas.microsoft.com/office/drawing/2014/main" id="{00908F2B-10D5-4992-8BF5-A7E2C3D2B9F0}"/>
              </a:ext>
            </a:extLst>
          </p:cNvPr>
          <p:cNvSpPr txBox="1"/>
          <p:nvPr/>
        </p:nvSpPr>
        <p:spPr>
          <a:xfrm>
            <a:off x="1796251" y="4088619"/>
            <a:ext cx="375071" cy="276999"/>
          </a:xfrm>
          <a:prstGeom prst="rect">
            <a:avLst/>
          </a:prstGeom>
          <a:ln w="3175">
            <a:noFill/>
          </a:ln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ü"/>
            </a:pPr>
            <a:r>
              <a:rPr lang="de-DE" sz="1200" dirty="0">
                <a:solidFill>
                  <a:schemeClr val="bg1"/>
                </a:solidFill>
              </a:rPr>
              <a:t>X</a:t>
            </a:r>
          </a:p>
        </p:txBody>
      </p:sp>
      <p:sp>
        <p:nvSpPr>
          <p:cNvPr id="209" name="Rechteck: abgerundete Ecken 208">
            <a:extLst>
              <a:ext uri="{FF2B5EF4-FFF2-40B4-BE49-F238E27FC236}">
                <a16:creationId xmlns:a16="http://schemas.microsoft.com/office/drawing/2014/main" id="{9C85A905-6F6B-47A7-947D-0E077248486C}"/>
              </a:ext>
            </a:extLst>
          </p:cNvPr>
          <p:cNvSpPr/>
          <p:nvPr/>
        </p:nvSpPr>
        <p:spPr>
          <a:xfrm>
            <a:off x="1603488" y="3899503"/>
            <a:ext cx="898489" cy="621506"/>
          </a:xfrm>
          <a:prstGeom prst="round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>
              <a:solidFill>
                <a:schemeClr val="tx1"/>
              </a:solidFill>
            </a:endParaRPr>
          </a:p>
        </p:txBody>
      </p:sp>
      <p:sp>
        <p:nvSpPr>
          <p:cNvPr id="211" name="Rechteck: abgerundete Ecken 210">
            <a:extLst>
              <a:ext uri="{FF2B5EF4-FFF2-40B4-BE49-F238E27FC236}">
                <a16:creationId xmlns:a16="http://schemas.microsoft.com/office/drawing/2014/main" id="{609ECA01-8494-4FED-A87D-6F4BA26C3F89}"/>
              </a:ext>
            </a:extLst>
          </p:cNvPr>
          <p:cNvSpPr/>
          <p:nvPr/>
        </p:nvSpPr>
        <p:spPr>
          <a:xfrm>
            <a:off x="1600890" y="4615050"/>
            <a:ext cx="898489" cy="621506"/>
          </a:xfrm>
          <a:prstGeom prst="round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>
              <a:solidFill>
                <a:schemeClr val="tx1"/>
              </a:solidFill>
            </a:endParaRPr>
          </a:p>
        </p:txBody>
      </p:sp>
      <p:grpSp>
        <p:nvGrpSpPr>
          <p:cNvPr id="64" name="Gruppieren 63">
            <a:extLst>
              <a:ext uri="{FF2B5EF4-FFF2-40B4-BE49-F238E27FC236}">
                <a16:creationId xmlns:a16="http://schemas.microsoft.com/office/drawing/2014/main" id="{6D50923F-E237-4925-AE9D-A6754E123266}"/>
              </a:ext>
            </a:extLst>
          </p:cNvPr>
          <p:cNvGrpSpPr/>
          <p:nvPr/>
        </p:nvGrpSpPr>
        <p:grpSpPr>
          <a:xfrm>
            <a:off x="302366" y="6191794"/>
            <a:ext cx="11663104" cy="463351"/>
            <a:chOff x="302366" y="6098591"/>
            <a:chExt cx="11663104" cy="360000"/>
          </a:xfrm>
        </p:grpSpPr>
        <p:sp>
          <p:nvSpPr>
            <p:cNvPr id="65" name="Textplatzhalter 2">
              <a:extLst>
                <a:ext uri="{FF2B5EF4-FFF2-40B4-BE49-F238E27FC236}">
                  <a16:creationId xmlns:a16="http://schemas.microsoft.com/office/drawing/2014/main" id="{B8B8CBD6-3B3C-4CED-8A92-C610AF0AF67E}"/>
                </a:ext>
              </a:extLst>
            </p:cNvPr>
            <p:cNvSpPr txBox="1">
              <a:spLocks/>
            </p:cNvSpPr>
            <p:nvPr/>
          </p:nvSpPr>
          <p:spPr>
            <a:xfrm>
              <a:off x="654174" y="6098591"/>
              <a:ext cx="11311296" cy="36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none" lIns="180000" tIns="36000" rIns="36000" bIns="36000" rtlCol="0" anchor="ctr">
              <a:noAutofit/>
            </a:bodyPr>
            <a:lstStyle>
              <a:lvl1pPr marL="0" indent="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Tx/>
                <a:buNone/>
                <a:defRPr sz="1400" b="0" kern="1200" baseline="0">
                  <a:solidFill>
                    <a:schemeClr val="bg1"/>
                  </a:solidFill>
                  <a:latin typeface="Source Sans Pro Semibold" pitchFamily="34" charset="0"/>
                  <a:ea typeface="+mn-ea"/>
                  <a:cs typeface="+mn-cs"/>
                </a:defRPr>
              </a:lvl1pPr>
              <a:lvl2pPr marL="457200" indent="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None/>
                <a:defRPr sz="20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ClrTx/>
                <a:buFont typeface="Symbol" panose="05050102010706020507" pitchFamily="18" charset="2"/>
                <a:buNone/>
                <a:defRPr sz="18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ClrTx/>
                <a:buFont typeface="Symbol" panose="05050102010706020507" pitchFamily="18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ClrTx/>
                <a:buFont typeface="Symbol" panose="05050102010706020507" pitchFamily="18" charset="2"/>
                <a:buNone/>
                <a:tabLst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dirty="0"/>
                <a:t>Die Modularität der Software- und Hardwarekomponenten erlaubt einen </a:t>
              </a:r>
              <a:r>
                <a:rPr lang="de-DE" dirty="0" err="1"/>
                <a:t>use</a:t>
              </a:r>
              <a:r>
                <a:rPr lang="de-DE" dirty="0"/>
                <a:t> </a:t>
              </a:r>
              <a:r>
                <a:rPr lang="de-DE" dirty="0" err="1"/>
                <a:t>case</a:t>
              </a:r>
              <a:r>
                <a:rPr lang="de-DE" dirty="0"/>
                <a:t>-spezifischen Aufbau und Umbau des Systems im PLC. </a:t>
              </a:r>
            </a:p>
          </p:txBody>
        </p:sp>
        <p:sp>
          <p:nvSpPr>
            <p:cNvPr id="66" name="Textplatzhalter 10">
              <a:extLst>
                <a:ext uri="{FF2B5EF4-FFF2-40B4-BE49-F238E27FC236}">
                  <a16:creationId xmlns:a16="http://schemas.microsoft.com/office/drawing/2014/main" id="{8FDB75F2-014B-4564-976C-DB9188AA73B2}"/>
                </a:ext>
              </a:extLst>
            </p:cNvPr>
            <p:cNvSpPr txBox="1">
              <a:spLocks/>
            </p:cNvSpPr>
            <p:nvPr/>
          </p:nvSpPr>
          <p:spPr>
            <a:xfrm>
              <a:off x="302366" y="6098591"/>
              <a:ext cx="360000" cy="360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lIns="36000" tIns="36000" rIns="36000" bIns="36000" rtlCol="0" anchor="ctr">
              <a:noAutofit/>
            </a:bodyPr>
            <a:lstStyle>
              <a:lvl1pPr marL="0" indent="0" algn="ctr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Tx/>
                <a:buNone/>
                <a:defRPr sz="1600" b="0" kern="1200">
                  <a:solidFill>
                    <a:schemeClr val="bg1"/>
                  </a:solidFill>
                  <a:latin typeface="Source Sans Pro Semibold" pitchFamily="34" charset="0"/>
                  <a:ea typeface="+mn-ea"/>
                  <a:cs typeface="+mn-cs"/>
                </a:defRPr>
              </a:lvl1pPr>
              <a:lvl2pPr marL="457200" indent="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None/>
                <a:defRPr sz="20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ClrTx/>
                <a:buFont typeface="Symbol" panose="05050102010706020507" pitchFamily="18" charset="2"/>
                <a:buNone/>
                <a:defRPr sz="18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ClrTx/>
                <a:buFont typeface="Symbol" panose="05050102010706020507" pitchFamily="18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ClrTx/>
                <a:buFont typeface="Symbol" panose="05050102010706020507" pitchFamily="18" charset="2"/>
                <a:buNone/>
                <a:tabLst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/>
                <a:t>!</a:t>
              </a:r>
              <a:endParaRPr lang="de-DE" dirty="0"/>
            </a:p>
          </p:txBody>
        </p:sp>
      </p:grp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3D39BA62-CB6D-4D87-997C-6E1960DD010E}"/>
              </a:ext>
            </a:extLst>
          </p:cNvPr>
          <p:cNvGrpSpPr/>
          <p:nvPr/>
        </p:nvGrpSpPr>
        <p:grpSpPr>
          <a:xfrm>
            <a:off x="1357890" y="1708390"/>
            <a:ext cx="1332412" cy="1109876"/>
            <a:chOff x="1357890" y="1708390"/>
            <a:chExt cx="1332412" cy="1109876"/>
          </a:xfrm>
        </p:grpSpPr>
        <p:pic>
          <p:nvPicPr>
            <p:cNvPr id="24578" name="Picture 2" descr="Bildergebnis für fabrik icon">
              <a:extLst>
                <a:ext uri="{FF2B5EF4-FFF2-40B4-BE49-F238E27FC236}">
                  <a16:creationId xmlns:a16="http://schemas.microsoft.com/office/drawing/2014/main" id="{2DB92BA2-B8D3-4648-9618-A44D0115C86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54758" y="2059894"/>
              <a:ext cx="758372" cy="7583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" name="Textfeld 2">
              <a:extLst>
                <a:ext uri="{FF2B5EF4-FFF2-40B4-BE49-F238E27FC236}">
                  <a16:creationId xmlns:a16="http://schemas.microsoft.com/office/drawing/2014/main" id="{A244A928-1545-4E01-B971-A932A7D95B68}"/>
                </a:ext>
              </a:extLst>
            </p:cNvPr>
            <p:cNvSpPr txBox="1"/>
            <p:nvPr/>
          </p:nvSpPr>
          <p:spPr>
            <a:xfrm>
              <a:off x="1357890" y="1708390"/>
              <a:ext cx="1332412" cy="276999"/>
            </a:xfrm>
            <a:prstGeom prst="rect">
              <a:avLst/>
            </a:prstGeom>
            <a:ln w="3175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b="1" dirty="0"/>
                <a:t>1. </a:t>
              </a:r>
              <a:r>
                <a:rPr lang="de-DE" sz="1200" b="1" dirty="0" err="1"/>
                <a:t>Tekfor</a:t>
              </a:r>
              <a:endParaRPr lang="de-DE" sz="1200" b="1" dirty="0"/>
            </a:p>
          </p:txBody>
        </p:sp>
      </p:grpSp>
      <p:grpSp>
        <p:nvGrpSpPr>
          <p:cNvPr id="72" name="Gruppieren 71">
            <a:extLst>
              <a:ext uri="{FF2B5EF4-FFF2-40B4-BE49-F238E27FC236}">
                <a16:creationId xmlns:a16="http://schemas.microsoft.com/office/drawing/2014/main" id="{D05FE86E-FBD4-462D-B78D-939F726A5D02}"/>
              </a:ext>
            </a:extLst>
          </p:cNvPr>
          <p:cNvGrpSpPr/>
          <p:nvPr/>
        </p:nvGrpSpPr>
        <p:grpSpPr>
          <a:xfrm>
            <a:off x="4711650" y="1708390"/>
            <a:ext cx="1332412" cy="1109876"/>
            <a:chOff x="1357890" y="1708390"/>
            <a:chExt cx="1332412" cy="1109876"/>
          </a:xfrm>
        </p:grpSpPr>
        <p:pic>
          <p:nvPicPr>
            <p:cNvPr id="73" name="Picture 2" descr="Bildergebnis für fabrik icon">
              <a:extLst>
                <a:ext uri="{FF2B5EF4-FFF2-40B4-BE49-F238E27FC236}">
                  <a16:creationId xmlns:a16="http://schemas.microsoft.com/office/drawing/2014/main" id="{061C3A35-91F3-4784-AB03-820A71F3BF4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54758" y="2059894"/>
              <a:ext cx="758372" cy="7583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4" name="Textfeld 73">
              <a:extLst>
                <a:ext uri="{FF2B5EF4-FFF2-40B4-BE49-F238E27FC236}">
                  <a16:creationId xmlns:a16="http://schemas.microsoft.com/office/drawing/2014/main" id="{B3E9EDDD-76AC-4243-B98A-6F0E4A202422}"/>
                </a:ext>
              </a:extLst>
            </p:cNvPr>
            <p:cNvSpPr txBox="1"/>
            <p:nvPr/>
          </p:nvSpPr>
          <p:spPr>
            <a:xfrm>
              <a:off x="1357890" y="1708390"/>
              <a:ext cx="1332412" cy="276999"/>
            </a:xfrm>
            <a:prstGeom prst="rect">
              <a:avLst/>
            </a:prstGeom>
            <a:ln w="3175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b="1" dirty="0"/>
                <a:t>2. </a:t>
              </a:r>
              <a:r>
                <a:rPr lang="de-DE" sz="1200" b="1" dirty="0" err="1"/>
                <a:t>Eloxierer</a:t>
              </a:r>
              <a:endParaRPr lang="de-DE" sz="1200" b="1" dirty="0"/>
            </a:p>
          </p:txBody>
        </p:sp>
      </p:grpSp>
      <p:grpSp>
        <p:nvGrpSpPr>
          <p:cNvPr id="75" name="Gruppieren 74">
            <a:extLst>
              <a:ext uri="{FF2B5EF4-FFF2-40B4-BE49-F238E27FC236}">
                <a16:creationId xmlns:a16="http://schemas.microsoft.com/office/drawing/2014/main" id="{796E349E-99AD-4BE2-8F15-9BFC0C04AFA3}"/>
              </a:ext>
            </a:extLst>
          </p:cNvPr>
          <p:cNvGrpSpPr/>
          <p:nvPr/>
        </p:nvGrpSpPr>
        <p:grpSpPr>
          <a:xfrm>
            <a:off x="8065410" y="1708390"/>
            <a:ext cx="1332412" cy="1109876"/>
            <a:chOff x="1357890" y="1708390"/>
            <a:chExt cx="1332412" cy="1109876"/>
          </a:xfrm>
        </p:grpSpPr>
        <p:pic>
          <p:nvPicPr>
            <p:cNvPr id="76" name="Picture 2" descr="Bildergebnis für fabrik icon">
              <a:extLst>
                <a:ext uri="{FF2B5EF4-FFF2-40B4-BE49-F238E27FC236}">
                  <a16:creationId xmlns:a16="http://schemas.microsoft.com/office/drawing/2014/main" id="{F2A54747-7994-44C5-B4A5-8ACFC011D1F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54758" y="2059894"/>
              <a:ext cx="758372" cy="7583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7" name="Textfeld 76">
              <a:extLst>
                <a:ext uri="{FF2B5EF4-FFF2-40B4-BE49-F238E27FC236}">
                  <a16:creationId xmlns:a16="http://schemas.microsoft.com/office/drawing/2014/main" id="{552FAFEC-944B-4CCF-95BB-A8D7599645A7}"/>
                </a:ext>
              </a:extLst>
            </p:cNvPr>
            <p:cNvSpPr txBox="1"/>
            <p:nvPr/>
          </p:nvSpPr>
          <p:spPr>
            <a:xfrm>
              <a:off x="1357890" y="1708390"/>
              <a:ext cx="1332412" cy="276999"/>
            </a:xfrm>
            <a:prstGeom prst="rect">
              <a:avLst/>
            </a:prstGeom>
            <a:ln w="3175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b="1" dirty="0"/>
                <a:t>3. Kunde</a:t>
              </a:r>
            </a:p>
          </p:txBody>
        </p:sp>
      </p:grpSp>
      <p:grpSp>
        <p:nvGrpSpPr>
          <p:cNvPr id="82" name="Gruppieren 81">
            <a:extLst>
              <a:ext uri="{FF2B5EF4-FFF2-40B4-BE49-F238E27FC236}">
                <a16:creationId xmlns:a16="http://schemas.microsoft.com/office/drawing/2014/main" id="{C9E0EC7F-2E95-42F5-86CD-1626D46C66E8}"/>
              </a:ext>
            </a:extLst>
          </p:cNvPr>
          <p:cNvGrpSpPr/>
          <p:nvPr/>
        </p:nvGrpSpPr>
        <p:grpSpPr>
          <a:xfrm>
            <a:off x="4499068" y="3040775"/>
            <a:ext cx="1757575" cy="621506"/>
            <a:chOff x="5670830" y="3594908"/>
            <a:chExt cx="1757575" cy="621506"/>
          </a:xfrm>
        </p:grpSpPr>
        <p:grpSp>
          <p:nvGrpSpPr>
            <p:cNvPr id="83" name="Gruppieren 82">
              <a:extLst>
                <a:ext uri="{FF2B5EF4-FFF2-40B4-BE49-F238E27FC236}">
                  <a16:creationId xmlns:a16="http://schemas.microsoft.com/office/drawing/2014/main" id="{98045F7F-B048-4E07-AA47-1CC858905AF4}"/>
                </a:ext>
              </a:extLst>
            </p:cNvPr>
            <p:cNvGrpSpPr/>
            <p:nvPr/>
          </p:nvGrpSpPr>
          <p:grpSpPr>
            <a:xfrm>
              <a:off x="5670830" y="3594908"/>
              <a:ext cx="1757575" cy="621506"/>
              <a:chOff x="5670830" y="3594908"/>
              <a:chExt cx="1757575" cy="621506"/>
            </a:xfrm>
          </p:grpSpPr>
          <p:sp>
            <p:nvSpPr>
              <p:cNvPr id="85" name="Rechteck: abgerundete Ecken 84">
                <a:extLst>
                  <a:ext uri="{FF2B5EF4-FFF2-40B4-BE49-F238E27FC236}">
                    <a16:creationId xmlns:a16="http://schemas.microsoft.com/office/drawing/2014/main" id="{99A3370E-1F73-485E-9A4F-00FEC248333A}"/>
                  </a:ext>
                </a:extLst>
              </p:cNvPr>
              <p:cNvSpPr/>
              <p:nvPr/>
            </p:nvSpPr>
            <p:spPr>
              <a:xfrm>
                <a:off x="5670830" y="3594908"/>
                <a:ext cx="1757575" cy="62150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e-DE" sz="1600">
                  <a:solidFill>
                    <a:schemeClr val="tx1"/>
                  </a:solidFill>
                </a:endParaRPr>
              </a:p>
            </p:txBody>
          </p:sp>
          <p:sp>
            <p:nvSpPr>
              <p:cNvPr id="86" name="Ellipse 85">
                <a:extLst>
                  <a:ext uri="{FF2B5EF4-FFF2-40B4-BE49-F238E27FC236}">
                    <a16:creationId xmlns:a16="http://schemas.microsoft.com/office/drawing/2014/main" id="{0663563F-5CE5-454F-880D-C72BD6C7C092}"/>
                  </a:ext>
                </a:extLst>
              </p:cNvPr>
              <p:cNvSpPr/>
              <p:nvPr/>
            </p:nvSpPr>
            <p:spPr>
              <a:xfrm>
                <a:off x="5904074" y="3689661"/>
                <a:ext cx="432000" cy="432000"/>
              </a:xfrm>
              <a:prstGeom prst="ellipse">
                <a:avLst/>
              </a:prstGeom>
              <a:solidFill>
                <a:schemeClr val="tx1"/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e-DE" sz="160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84" name="Ellipse 83">
              <a:extLst>
                <a:ext uri="{FF2B5EF4-FFF2-40B4-BE49-F238E27FC236}">
                  <a16:creationId xmlns:a16="http://schemas.microsoft.com/office/drawing/2014/main" id="{E366AB0F-9ACD-4DF6-BDB8-0891ED48CB33}"/>
                </a:ext>
              </a:extLst>
            </p:cNvPr>
            <p:cNvSpPr/>
            <p:nvPr/>
          </p:nvSpPr>
          <p:spPr>
            <a:xfrm>
              <a:off x="6703184" y="3685261"/>
              <a:ext cx="432000" cy="432000"/>
            </a:xfrm>
            <a:prstGeom prst="ellipse">
              <a:avLst/>
            </a:prstGeom>
            <a:solidFill>
              <a:srgbClr val="0A4B9B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>
                <a:solidFill>
                  <a:schemeClr val="tx1"/>
                </a:solidFill>
              </a:endParaRPr>
            </a:p>
          </p:txBody>
        </p:sp>
      </p:grpSp>
      <p:grpSp>
        <p:nvGrpSpPr>
          <p:cNvPr id="87" name="Gruppieren 86">
            <a:extLst>
              <a:ext uri="{FF2B5EF4-FFF2-40B4-BE49-F238E27FC236}">
                <a16:creationId xmlns:a16="http://schemas.microsoft.com/office/drawing/2014/main" id="{3048D281-003A-4F73-89FE-7EBF46411FC1}"/>
              </a:ext>
            </a:extLst>
          </p:cNvPr>
          <p:cNvGrpSpPr/>
          <p:nvPr/>
        </p:nvGrpSpPr>
        <p:grpSpPr>
          <a:xfrm>
            <a:off x="7852828" y="3040775"/>
            <a:ext cx="1757575" cy="621506"/>
            <a:chOff x="5670830" y="3594908"/>
            <a:chExt cx="1757575" cy="621506"/>
          </a:xfrm>
        </p:grpSpPr>
        <p:grpSp>
          <p:nvGrpSpPr>
            <p:cNvPr id="89" name="Gruppieren 88">
              <a:extLst>
                <a:ext uri="{FF2B5EF4-FFF2-40B4-BE49-F238E27FC236}">
                  <a16:creationId xmlns:a16="http://schemas.microsoft.com/office/drawing/2014/main" id="{E5E5E2AF-7B6C-4DDD-8E36-8790F056E46F}"/>
                </a:ext>
              </a:extLst>
            </p:cNvPr>
            <p:cNvGrpSpPr/>
            <p:nvPr/>
          </p:nvGrpSpPr>
          <p:grpSpPr>
            <a:xfrm>
              <a:off x="5670830" y="3594908"/>
              <a:ext cx="1757575" cy="621506"/>
              <a:chOff x="5670830" y="3594908"/>
              <a:chExt cx="1757575" cy="621506"/>
            </a:xfrm>
          </p:grpSpPr>
          <p:sp>
            <p:nvSpPr>
              <p:cNvPr id="91" name="Rechteck: abgerundete Ecken 90">
                <a:extLst>
                  <a:ext uri="{FF2B5EF4-FFF2-40B4-BE49-F238E27FC236}">
                    <a16:creationId xmlns:a16="http://schemas.microsoft.com/office/drawing/2014/main" id="{8C7CDCA3-2CEE-4B02-84F9-758BD54344E7}"/>
                  </a:ext>
                </a:extLst>
              </p:cNvPr>
              <p:cNvSpPr/>
              <p:nvPr/>
            </p:nvSpPr>
            <p:spPr>
              <a:xfrm>
                <a:off x="5670830" y="3594908"/>
                <a:ext cx="1757575" cy="62150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e-DE" sz="1600">
                  <a:solidFill>
                    <a:schemeClr val="tx1"/>
                  </a:solidFill>
                </a:endParaRPr>
              </a:p>
            </p:txBody>
          </p:sp>
          <p:sp>
            <p:nvSpPr>
              <p:cNvPr id="92" name="Ellipse 91">
                <a:extLst>
                  <a:ext uri="{FF2B5EF4-FFF2-40B4-BE49-F238E27FC236}">
                    <a16:creationId xmlns:a16="http://schemas.microsoft.com/office/drawing/2014/main" id="{D4CFA0CB-A7AF-488B-B179-08C97F7E71BC}"/>
                  </a:ext>
                </a:extLst>
              </p:cNvPr>
              <p:cNvSpPr/>
              <p:nvPr/>
            </p:nvSpPr>
            <p:spPr>
              <a:xfrm>
                <a:off x="5904074" y="3689661"/>
                <a:ext cx="432000" cy="432000"/>
              </a:xfrm>
              <a:prstGeom prst="ellipse">
                <a:avLst/>
              </a:prstGeom>
              <a:solidFill>
                <a:schemeClr val="tx1"/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e-DE" sz="160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90" name="Ellipse 89">
              <a:extLst>
                <a:ext uri="{FF2B5EF4-FFF2-40B4-BE49-F238E27FC236}">
                  <a16:creationId xmlns:a16="http://schemas.microsoft.com/office/drawing/2014/main" id="{3AD8934D-639F-4634-9616-C0DC7F5FCFB5}"/>
                </a:ext>
              </a:extLst>
            </p:cNvPr>
            <p:cNvSpPr/>
            <p:nvPr/>
          </p:nvSpPr>
          <p:spPr>
            <a:xfrm>
              <a:off x="6703184" y="3685261"/>
              <a:ext cx="432000" cy="432000"/>
            </a:xfrm>
            <a:prstGeom prst="ellipse">
              <a:avLst/>
            </a:prstGeom>
            <a:solidFill>
              <a:srgbClr val="0A4B9B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>
                <a:solidFill>
                  <a:schemeClr val="tx1"/>
                </a:solidFill>
              </a:endParaRPr>
            </a:p>
          </p:txBody>
        </p:sp>
      </p:grpSp>
      <p:grpSp>
        <p:nvGrpSpPr>
          <p:cNvPr id="96" name="Gruppieren 95">
            <a:extLst>
              <a:ext uri="{FF2B5EF4-FFF2-40B4-BE49-F238E27FC236}">
                <a16:creationId xmlns:a16="http://schemas.microsoft.com/office/drawing/2014/main" id="{832E0229-AA5B-4E73-84D3-FF1A464AE829}"/>
              </a:ext>
            </a:extLst>
          </p:cNvPr>
          <p:cNvGrpSpPr/>
          <p:nvPr/>
        </p:nvGrpSpPr>
        <p:grpSpPr>
          <a:xfrm>
            <a:off x="1213890" y="5543005"/>
            <a:ext cx="2681210" cy="288000"/>
            <a:chOff x="654173" y="5421087"/>
            <a:chExt cx="2681210" cy="288000"/>
          </a:xfrm>
        </p:grpSpPr>
        <p:sp>
          <p:nvSpPr>
            <p:cNvPr id="97" name="Ellipse 96">
              <a:extLst>
                <a:ext uri="{FF2B5EF4-FFF2-40B4-BE49-F238E27FC236}">
                  <a16:creationId xmlns:a16="http://schemas.microsoft.com/office/drawing/2014/main" id="{62DE0EC7-D4C9-482E-BBE6-09AB2308A52A}"/>
                </a:ext>
              </a:extLst>
            </p:cNvPr>
            <p:cNvSpPr/>
            <p:nvPr/>
          </p:nvSpPr>
          <p:spPr>
            <a:xfrm>
              <a:off x="654173" y="5421087"/>
              <a:ext cx="288000" cy="288000"/>
            </a:xfrm>
            <a:prstGeom prst="ellipse">
              <a:avLst/>
            </a:prstGeom>
            <a:solidFill>
              <a:srgbClr val="00B050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>
                <a:solidFill>
                  <a:schemeClr val="tx1"/>
                </a:solidFill>
              </a:endParaRPr>
            </a:p>
          </p:txBody>
        </p:sp>
        <p:sp>
          <p:nvSpPr>
            <p:cNvPr id="98" name="Textfeld 97">
              <a:extLst>
                <a:ext uri="{FF2B5EF4-FFF2-40B4-BE49-F238E27FC236}">
                  <a16:creationId xmlns:a16="http://schemas.microsoft.com/office/drawing/2014/main" id="{7667D59C-0CC9-4908-ABB2-E0F6FC047E73}"/>
                </a:ext>
              </a:extLst>
            </p:cNvPr>
            <p:cNvSpPr txBox="1"/>
            <p:nvPr/>
          </p:nvSpPr>
          <p:spPr>
            <a:xfrm>
              <a:off x="995041" y="5426588"/>
              <a:ext cx="2340342" cy="276999"/>
            </a:xfrm>
            <a:prstGeom prst="rect">
              <a:avLst/>
            </a:prstGeom>
            <a:ln w="3175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de-DE" sz="1200" dirty="0"/>
                <a:t>Real-Time Streaming Analytics</a:t>
              </a:r>
            </a:p>
          </p:txBody>
        </p:sp>
      </p:grpSp>
      <p:grpSp>
        <p:nvGrpSpPr>
          <p:cNvPr id="99" name="Gruppieren 98">
            <a:extLst>
              <a:ext uri="{FF2B5EF4-FFF2-40B4-BE49-F238E27FC236}">
                <a16:creationId xmlns:a16="http://schemas.microsoft.com/office/drawing/2014/main" id="{99EE496C-AD74-461E-BD17-53EA87A115F1}"/>
              </a:ext>
            </a:extLst>
          </p:cNvPr>
          <p:cNvGrpSpPr/>
          <p:nvPr/>
        </p:nvGrpSpPr>
        <p:grpSpPr>
          <a:xfrm>
            <a:off x="3895100" y="5537505"/>
            <a:ext cx="2972946" cy="288000"/>
            <a:chOff x="654173" y="5421087"/>
            <a:chExt cx="2972946" cy="288000"/>
          </a:xfrm>
        </p:grpSpPr>
        <p:sp>
          <p:nvSpPr>
            <p:cNvPr id="100" name="Ellipse 99">
              <a:extLst>
                <a:ext uri="{FF2B5EF4-FFF2-40B4-BE49-F238E27FC236}">
                  <a16:creationId xmlns:a16="http://schemas.microsoft.com/office/drawing/2014/main" id="{B7B51E06-9721-4839-BD03-F5BE22B4FDE7}"/>
                </a:ext>
              </a:extLst>
            </p:cNvPr>
            <p:cNvSpPr/>
            <p:nvPr/>
          </p:nvSpPr>
          <p:spPr>
            <a:xfrm>
              <a:off x="654173" y="5421087"/>
              <a:ext cx="288000" cy="288000"/>
            </a:xfrm>
            <a:prstGeom prst="ellipse">
              <a:avLst/>
            </a:prstGeom>
            <a:solidFill>
              <a:srgbClr val="D40E3A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>
                <a:solidFill>
                  <a:schemeClr val="tx1"/>
                </a:solidFill>
              </a:endParaRPr>
            </a:p>
          </p:txBody>
        </p:sp>
        <p:sp>
          <p:nvSpPr>
            <p:cNvPr id="101" name="Textfeld 100">
              <a:extLst>
                <a:ext uri="{FF2B5EF4-FFF2-40B4-BE49-F238E27FC236}">
                  <a16:creationId xmlns:a16="http://schemas.microsoft.com/office/drawing/2014/main" id="{F3A02567-37BA-4710-A68A-BD3F3BC6119E}"/>
                </a:ext>
              </a:extLst>
            </p:cNvPr>
            <p:cNvSpPr txBox="1"/>
            <p:nvPr/>
          </p:nvSpPr>
          <p:spPr>
            <a:xfrm>
              <a:off x="995040" y="5426588"/>
              <a:ext cx="2632079" cy="276999"/>
            </a:xfrm>
            <a:prstGeom prst="rect">
              <a:avLst/>
            </a:prstGeom>
            <a:ln w="3175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de-DE" sz="1200" dirty="0"/>
                <a:t>Modell Training/Transfer Learning</a:t>
              </a:r>
            </a:p>
          </p:txBody>
        </p:sp>
      </p:grpSp>
      <p:grpSp>
        <p:nvGrpSpPr>
          <p:cNvPr id="102" name="Gruppieren 101">
            <a:extLst>
              <a:ext uri="{FF2B5EF4-FFF2-40B4-BE49-F238E27FC236}">
                <a16:creationId xmlns:a16="http://schemas.microsoft.com/office/drawing/2014/main" id="{67EED68E-6612-49B2-A56A-ACD4B1A6EB47}"/>
              </a:ext>
            </a:extLst>
          </p:cNvPr>
          <p:cNvGrpSpPr/>
          <p:nvPr/>
        </p:nvGrpSpPr>
        <p:grpSpPr>
          <a:xfrm>
            <a:off x="8152257" y="5537505"/>
            <a:ext cx="1200754" cy="288000"/>
            <a:chOff x="654173" y="5421087"/>
            <a:chExt cx="1200754" cy="288000"/>
          </a:xfrm>
        </p:grpSpPr>
        <p:sp>
          <p:nvSpPr>
            <p:cNvPr id="103" name="Ellipse 102">
              <a:extLst>
                <a:ext uri="{FF2B5EF4-FFF2-40B4-BE49-F238E27FC236}">
                  <a16:creationId xmlns:a16="http://schemas.microsoft.com/office/drawing/2014/main" id="{B70E4CFC-327D-4B71-96DD-CA1C938B5EF3}"/>
                </a:ext>
              </a:extLst>
            </p:cNvPr>
            <p:cNvSpPr/>
            <p:nvPr/>
          </p:nvSpPr>
          <p:spPr>
            <a:xfrm>
              <a:off x="654173" y="5421087"/>
              <a:ext cx="288000" cy="288000"/>
            </a:xfrm>
            <a:prstGeom prst="ellipse">
              <a:avLst/>
            </a:prstGeom>
            <a:solidFill>
              <a:srgbClr val="0A4B9B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>
                <a:solidFill>
                  <a:schemeClr val="tx1"/>
                </a:solidFill>
              </a:endParaRPr>
            </a:p>
          </p:txBody>
        </p:sp>
        <p:sp>
          <p:nvSpPr>
            <p:cNvPr id="104" name="Textfeld 103">
              <a:extLst>
                <a:ext uri="{FF2B5EF4-FFF2-40B4-BE49-F238E27FC236}">
                  <a16:creationId xmlns:a16="http://schemas.microsoft.com/office/drawing/2014/main" id="{7CBD687B-0486-450B-A1FB-E00FD2D6070E}"/>
                </a:ext>
              </a:extLst>
            </p:cNvPr>
            <p:cNvSpPr txBox="1"/>
            <p:nvPr/>
          </p:nvSpPr>
          <p:spPr>
            <a:xfrm>
              <a:off x="995041" y="5426588"/>
              <a:ext cx="859886" cy="276999"/>
            </a:xfrm>
            <a:prstGeom prst="rect">
              <a:avLst/>
            </a:prstGeom>
            <a:ln w="3175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de-DE" sz="1200" dirty="0"/>
                <a:t>HMI</a:t>
              </a:r>
            </a:p>
          </p:txBody>
        </p:sp>
      </p:grpSp>
      <p:grpSp>
        <p:nvGrpSpPr>
          <p:cNvPr id="105" name="Gruppieren 104">
            <a:extLst>
              <a:ext uri="{FF2B5EF4-FFF2-40B4-BE49-F238E27FC236}">
                <a16:creationId xmlns:a16="http://schemas.microsoft.com/office/drawing/2014/main" id="{FED0074B-EACB-4C1E-ADCF-5CBEFD187BC7}"/>
              </a:ext>
            </a:extLst>
          </p:cNvPr>
          <p:cNvGrpSpPr/>
          <p:nvPr/>
        </p:nvGrpSpPr>
        <p:grpSpPr>
          <a:xfrm>
            <a:off x="6782596" y="5532005"/>
            <a:ext cx="1083756" cy="288000"/>
            <a:chOff x="654173" y="5421087"/>
            <a:chExt cx="1083756" cy="288000"/>
          </a:xfrm>
        </p:grpSpPr>
        <p:sp>
          <p:nvSpPr>
            <p:cNvPr id="106" name="Ellipse 105">
              <a:extLst>
                <a:ext uri="{FF2B5EF4-FFF2-40B4-BE49-F238E27FC236}">
                  <a16:creationId xmlns:a16="http://schemas.microsoft.com/office/drawing/2014/main" id="{5C055421-CCE2-49CA-B58F-E372B0BD9FCC}"/>
                </a:ext>
              </a:extLst>
            </p:cNvPr>
            <p:cNvSpPr/>
            <p:nvPr/>
          </p:nvSpPr>
          <p:spPr>
            <a:xfrm>
              <a:off x="654173" y="5421087"/>
              <a:ext cx="288000" cy="288000"/>
            </a:xfrm>
            <a:prstGeom prst="ellipse">
              <a:avLst/>
            </a:prstGeom>
            <a:solidFill>
              <a:schemeClr val="tx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>
                <a:solidFill>
                  <a:schemeClr val="tx1"/>
                </a:solidFill>
              </a:endParaRPr>
            </a:p>
          </p:txBody>
        </p:sp>
        <p:sp>
          <p:nvSpPr>
            <p:cNvPr id="107" name="Textfeld 106">
              <a:extLst>
                <a:ext uri="{FF2B5EF4-FFF2-40B4-BE49-F238E27FC236}">
                  <a16:creationId xmlns:a16="http://schemas.microsoft.com/office/drawing/2014/main" id="{8D5EBF6F-E9BC-45D4-B68E-586525D7E9ED}"/>
                </a:ext>
              </a:extLst>
            </p:cNvPr>
            <p:cNvSpPr txBox="1"/>
            <p:nvPr/>
          </p:nvSpPr>
          <p:spPr>
            <a:xfrm>
              <a:off x="995041" y="5426588"/>
              <a:ext cx="742888" cy="276999"/>
            </a:xfrm>
            <a:prstGeom prst="rect">
              <a:avLst/>
            </a:prstGeom>
            <a:ln w="3175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de-DE" sz="1200" dirty="0"/>
                <a:t>Kamera</a:t>
              </a:r>
            </a:p>
          </p:txBody>
        </p:sp>
      </p:grpSp>
      <p:grpSp>
        <p:nvGrpSpPr>
          <p:cNvPr id="108" name="Gruppieren 107">
            <a:extLst>
              <a:ext uri="{FF2B5EF4-FFF2-40B4-BE49-F238E27FC236}">
                <a16:creationId xmlns:a16="http://schemas.microsoft.com/office/drawing/2014/main" id="{A3285CAE-1104-471E-8084-74EF91131CBE}"/>
              </a:ext>
            </a:extLst>
          </p:cNvPr>
          <p:cNvGrpSpPr/>
          <p:nvPr/>
        </p:nvGrpSpPr>
        <p:grpSpPr>
          <a:xfrm>
            <a:off x="9505549" y="5526505"/>
            <a:ext cx="1159009" cy="288000"/>
            <a:chOff x="8808859" y="6214484"/>
            <a:chExt cx="1159009" cy="288000"/>
          </a:xfrm>
        </p:grpSpPr>
        <p:sp>
          <p:nvSpPr>
            <p:cNvPr id="109" name="Textfeld 108">
              <a:extLst>
                <a:ext uri="{FF2B5EF4-FFF2-40B4-BE49-F238E27FC236}">
                  <a16:creationId xmlns:a16="http://schemas.microsoft.com/office/drawing/2014/main" id="{9160DE90-D05F-47D4-B3C1-0E984B6DFA7F}"/>
                </a:ext>
              </a:extLst>
            </p:cNvPr>
            <p:cNvSpPr txBox="1"/>
            <p:nvPr/>
          </p:nvSpPr>
          <p:spPr>
            <a:xfrm>
              <a:off x="9107983" y="6225485"/>
              <a:ext cx="859885" cy="276999"/>
            </a:xfrm>
            <a:prstGeom prst="rect">
              <a:avLst/>
            </a:prstGeom>
            <a:ln w="3175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de-DE" sz="1200" dirty="0"/>
                <a:t>Hardware</a:t>
              </a:r>
            </a:p>
          </p:txBody>
        </p:sp>
        <p:sp>
          <p:nvSpPr>
            <p:cNvPr id="110" name="Rechteck: abgerundete Ecken 109">
              <a:extLst>
                <a:ext uri="{FF2B5EF4-FFF2-40B4-BE49-F238E27FC236}">
                  <a16:creationId xmlns:a16="http://schemas.microsoft.com/office/drawing/2014/main" id="{333EFE5E-5C6F-499E-8BA4-99EC70100D66}"/>
                </a:ext>
              </a:extLst>
            </p:cNvPr>
            <p:cNvSpPr/>
            <p:nvPr/>
          </p:nvSpPr>
          <p:spPr>
            <a:xfrm>
              <a:off x="8808859" y="6214484"/>
              <a:ext cx="288000" cy="288000"/>
            </a:xfrm>
            <a:prstGeom prst="roundRect">
              <a:avLst/>
            </a:prstGeom>
            <a:noFill/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1477106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el 1"/>
          <p:cNvSpPr txBox="1">
            <a:spLocks/>
          </p:cNvSpPr>
          <p:nvPr/>
        </p:nvSpPr>
        <p:spPr>
          <a:xfrm>
            <a:off x="382588" y="919195"/>
            <a:ext cx="9674225" cy="828000"/>
          </a:xfrm>
          <a:prstGeom prst="rect">
            <a:avLst/>
          </a:prstGeom>
        </p:spPr>
        <p:txBody>
          <a:bodyPr vert="horz" lIns="36000" tIns="36000" rIns="36000" bIns="36000" rtlCol="0" anchor="t">
            <a:noAutofit/>
          </a:bodyPr>
          <a:lstStyle>
            <a:lvl1pPr algn="l" defTabSz="685800" rtl="0" eaLnBrk="1" latinLnBrk="0" hangingPunct="1">
              <a:lnSpc>
                <a:spcPts val="2175"/>
              </a:lnSpc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3200" dirty="0" err="1"/>
              <a:t>Quox</a:t>
            </a:r>
            <a:r>
              <a:rPr lang="de-DE" sz="3200" dirty="0"/>
              <a:t> – verteiltes System I/II</a:t>
            </a:r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6CC68E8A-E60D-4571-B13F-DC047C7BB89F}"/>
              </a:ext>
            </a:extLst>
          </p:cNvPr>
          <p:cNvGrpSpPr/>
          <p:nvPr/>
        </p:nvGrpSpPr>
        <p:grpSpPr>
          <a:xfrm>
            <a:off x="1145308" y="4582195"/>
            <a:ext cx="1757575" cy="621506"/>
            <a:chOff x="5670830" y="3594908"/>
            <a:chExt cx="1757575" cy="621506"/>
          </a:xfrm>
        </p:grpSpPr>
        <p:grpSp>
          <p:nvGrpSpPr>
            <p:cNvPr id="9" name="Gruppieren 8">
              <a:extLst>
                <a:ext uri="{FF2B5EF4-FFF2-40B4-BE49-F238E27FC236}">
                  <a16:creationId xmlns:a16="http://schemas.microsoft.com/office/drawing/2014/main" id="{3FD34F55-ABB6-4629-AE64-897D33706B45}"/>
                </a:ext>
              </a:extLst>
            </p:cNvPr>
            <p:cNvGrpSpPr/>
            <p:nvPr/>
          </p:nvGrpSpPr>
          <p:grpSpPr>
            <a:xfrm>
              <a:off x="5670830" y="3594908"/>
              <a:ext cx="1757575" cy="621506"/>
              <a:chOff x="5670830" y="3594908"/>
              <a:chExt cx="1757575" cy="621506"/>
            </a:xfrm>
          </p:grpSpPr>
          <p:sp>
            <p:nvSpPr>
              <p:cNvPr id="78" name="Rechteck: abgerundete Ecken 77">
                <a:extLst>
                  <a:ext uri="{FF2B5EF4-FFF2-40B4-BE49-F238E27FC236}">
                    <a16:creationId xmlns:a16="http://schemas.microsoft.com/office/drawing/2014/main" id="{CC69B66E-B0FC-4F46-9200-6064E13C8027}"/>
                  </a:ext>
                </a:extLst>
              </p:cNvPr>
              <p:cNvSpPr/>
              <p:nvPr/>
            </p:nvSpPr>
            <p:spPr>
              <a:xfrm>
                <a:off x="5670830" y="3594908"/>
                <a:ext cx="1757575" cy="62150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e-DE" sz="1600">
                  <a:solidFill>
                    <a:schemeClr val="tx1"/>
                  </a:solidFill>
                </a:endParaRPr>
              </a:p>
            </p:txBody>
          </p:sp>
          <p:sp>
            <p:nvSpPr>
              <p:cNvPr id="79" name="Ellipse 78">
                <a:extLst>
                  <a:ext uri="{FF2B5EF4-FFF2-40B4-BE49-F238E27FC236}">
                    <a16:creationId xmlns:a16="http://schemas.microsoft.com/office/drawing/2014/main" id="{847D97ED-0EF5-4560-B977-46FD2992EC90}"/>
                  </a:ext>
                </a:extLst>
              </p:cNvPr>
              <p:cNvSpPr/>
              <p:nvPr/>
            </p:nvSpPr>
            <p:spPr>
              <a:xfrm>
                <a:off x="5904074" y="3689661"/>
                <a:ext cx="432000" cy="432000"/>
              </a:xfrm>
              <a:prstGeom prst="ellipse">
                <a:avLst/>
              </a:prstGeom>
              <a:solidFill>
                <a:schemeClr val="tx1"/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e-DE" sz="160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98" name="Ellipse 197">
              <a:extLst>
                <a:ext uri="{FF2B5EF4-FFF2-40B4-BE49-F238E27FC236}">
                  <a16:creationId xmlns:a16="http://schemas.microsoft.com/office/drawing/2014/main" id="{8A59AA09-EA59-4A84-AF43-19A308F642EE}"/>
                </a:ext>
              </a:extLst>
            </p:cNvPr>
            <p:cNvSpPr/>
            <p:nvPr/>
          </p:nvSpPr>
          <p:spPr>
            <a:xfrm>
              <a:off x="6703184" y="3685261"/>
              <a:ext cx="432000" cy="432000"/>
            </a:xfrm>
            <a:prstGeom prst="ellipse">
              <a:avLst/>
            </a:prstGeom>
            <a:solidFill>
              <a:srgbClr val="0A4B9B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>
                <a:solidFill>
                  <a:schemeClr val="tx1"/>
                </a:solidFill>
              </a:endParaRPr>
            </a:p>
          </p:txBody>
        </p:sp>
      </p:grpSp>
      <p:sp>
        <p:nvSpPr>
          <p:cNvPr id="199" name="Ellipse 198">
            <a:extLst>
              <a:ext uri="{FF2B5EF4-FFF2-40B4-BE49-F238E27FC236}">
                <a16:creationId xmlns:a16="http://schemas.microsoft.com/office/drawing/2014/main" id="{C74F52BB-BA57-4F1B-AAFB-FA49247A0E4E}"/>
              </a:ext>
            </a:extLst>
          </p:cNvPr>
          <p:cNvSpPr/>
          <p:nvPr/>
        </p:nvSpPr>
        <p:spPr>
          <a:xfrm>
            <a:off x="5531422" y="1858094"/>
            <a:ext cx="432000" cy="432000"/>
          </a:xfrm>
          <a:prstGeom prst="ellipse">
            <a:avLst/>
          </a:prstGeom>
          <a:solidFill>
            <a:srgbClr val="00B050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>
              <a:solidFill>
                <a:schemeClr val="tx1"/>
              </a:solidFill>
            </a:endParaRPr>
          </a:p>
        </p:txBody>
      </p:sp>
      <p:sp>
        <p:nvSpPr>
          <p:cNvPr id="200" name="Ellipse 199">
            <a:extLst>
              <a:ext uri="{FF2B5EF4-FFF2-40B4-BE49-F238E27FC236}">
                <a16:creationId xmlns:a16="http://schemas.microsoft.com/office/drawing/2014/main" id="{E0985334-97DB-4829-81BB-BB885B7FE5C0}"/>
              </a:ext>
            </a:extLst>
          </p:cNvPr>
          <p:cNvSpPr/>
          <p:nvPr/>
        </p:nvSpPr>
        <p:spPr>
          <a:xfrm>
            <a:off x="4988673" y="1884887"/>
            <a:ext cx="432000" cy="432000"/>
          </a:xfrm>
          <a:prstGeom prst="ellipse">
            <a:avLst/>
          </a:prstGeom>
          <a:solidFill>
            <a:srgbClr val="D40E3A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>
              <a:solidFill>
                <a:schemeClr val="tx1"/>
              </a:solidFill>
            </a:endParaRPr>
          </a:p>
        </p:txBody>
      </p:sp>
      <p:sp>
        <p:nvSpPr>
          <p:cNvPr id="202" name="Textfeld 201">
            <a:extLst>
              <a:ext uri="{FF2B5EF4-FFF2-40B4-BE49-F238E27FC236}">
                <a16:creationId xmlns:a16="http://schemas.microsoft.com/office/drawing/2014/main" id="{00908F2B-10D5-4992-8BF5-A7E2C3D2B9F0}"/>
              </a:ext>
            </a:extLst>
          </p:cNvPr>
          <p:cNvSpPr txBox="1"/>
          <p:nvPr/>
        </p:nvSpPr>
        <p:spPr>
          <a:xfrm>
            <a:off x="5521971" y="1946800"/>
            <a:ext cx="375071" cy="276999"/>
          </a:xfrm>
          <a:prstGeom prst="rect">
            <a:avLst/>
          </a:prstGeom>
          <a:ln w="3175">
            <a:noFill/>
          </a:ln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ü"/>
            </a:pPr>
            <a:r>
              <a:rPr lang="de-DE" sz="1200" dirty="0">
                <a:solidFill>
                  <a:schemeClr val="bg1"/>
                </a:solidFill>
              </a:rPr>
              <a:t>X</a:t>
            </a:r>
          </a:p>
        </p:txBody>
      </p:sp>
      <p:grpSp>
        <p:nvGrpSpPr>
          <p:cNvPr id="64" name="Gruppieren 63">
            <a:extLst>
              <a:ext uri="{FF2B5EF4-FFF2-40B4-BE49-F238E27FC236}">
                <a16:creationId xmlns:a16="http://schemas.microsoft.com/office/drawing/2014/main" id="{6D50923F-E237-4925-AE9D-A6754E123266}"/>
              </a:ext>
            </a:extLst>
          </p:cNvPr>
          <p:cNvGrpSpPr/>
          <p:nvPr/>
        </p:nvGrpSpPr>
        <p:grpSpPr>
          <a:xfrm>
            <a:off x="302366" y="6191794"/>
            <a:ext cx="11663104" cy="463351"/>
            <a:chOff x="302366" y="6098591"/>
            <a:chExt cx="11663104" cy="360000"/>
          </a:xfrm>
        </p:grpSpPr>
        <p:sp>
          <p:nvSpPr>
            <p:cNvPr id="65" name="Textplatzhalter 2">
              <a:extLst>
                <a:ext uri="{FF2B5EF4-FFF2-40B4-BE49-F238E27FC236}">
                  <a16:creationId xmlns:a16="http://schemas.microsoft.com/office/drawing/2014/main" id="{B8B8CBD6-3B3C-4CED-8A92-C610AF0AF67E}"/>
                </a:ext>
              </a:extLst>
            </p:cNvPr>
            <p:cNvSpPr txBox="1">
              <a:spLocks/>
            </p:cNvSpPr>
            <p:nvPr/>
          </p:nvSpPr>
          <p:spPr>
            <a:xfrm>
              <a:off x="654174" y="6098591"/>
              <a:ext cx="11311296" cy="36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none" lIns="180000" tIns="36000" rIns="36000" bIns="36000" rtlCol="0" anchor="ctr">
              <a:noAutofit/>
            </a:bodyPr>
            <a:lstStyle>
              <a:lvl1pPr marL="0" indent="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Tx/>
                <a:buNone/>
                <a:defRPr sz="1400" b="0" kern="1200" baseline="0">
                  <a:solidFill>
                    <a:schemeClr val="bg1"/>
                  </a:solidFill>
                  <a:latin typeface="Source Sans Pro Semibold" pitchFamily="34" charset="0"/>
                  <a:ea typeface="+mn-ea"/>
                  <a:cs typeface="+mn-cs"/>
                </a:defRPr>
              </a:lvl1pPr>
              <a:lvl2pPr marL="457200" indent="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None/>
                <a:defRPr sz="20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ClrTx/>
                <a:buFont typeface="Symbol" panose="05050102010706020507" pitchFamily="18" charset="2"/>
                <a:buNone/>
                <a:defRPr sz="18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ClrTx/>
                <a:buFont typeface="Symbol" panose="05050102010706020507" pitchFamily="18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ClrTx/>
                <a:buFont typeface="Symbol" panose="05050102010706020507" pitchFamily="18" charset="2"/>
                <a:buNone/>
                <a:tabLst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dirty="0"/>
                <a:t>Die Modularität der Software- und Hardwarekomponenten erlaubt einen </a:t>
              </a:r>
              <a:r>
                <a:rPr lang="de-DE" dirty="0" err="1"/>
                <a:t>use</a:t>
              </a:r>
              <a:r>
                <a:rPr lang="de-DE" dirty="0"/>
                <a:t> </a:t>
              </a:r>
              <a:r>
                <a:rPr lang="de-DE" dirty="0" err="1"/>
                <a:t>case</a:t>
              </a:r>
              <a:r>
                <a:rPr lang="de-DE" dirty="0"/>
                <a:t>-spezifischen Aufbau und Umbau des Systems im PLC. </a:t>
              </a:r>
            </a:p>
          </p:txBody>
        </p:sp>
        <p:sp>
          <p:nvSpPr>
            <p:cNvPr id="66" name="Textplatzhalter 10">
              <a:extLst>
                <a:ext uri="{FF2B5EF4-FFF2-40B4-BE49-F238E27FC236}">
                  <a16:creationId xmlns:a16="http://schemas.microsoft.com/office/drawing/2014/main" id="{8FDB75F2-014B-4564-976C-DB9188AA73B2}"/>
                </a:ext>
              </a:extLst>
            </p:cNvPr>
            <p:cNvSpPr txBox="1">
              <a:spLocks/>
            </p:cNvSpPr>
            <p:nvPr/>
          </p:nvSpPr>
          <p:spPr>
            <a:xfrm>
              <a:off x="302366" y="6098591"/>
              <a:ext cx="360000" cy="360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lIns="36000" tIns="36000" rIns="36000" bIns="36000" rtlCol="0" anchor="ctr">
              <a:noAutofit/>
            </a:bodyPr>
            <a:lstStyle>
              <a:lvl1pPr marL="0" indent="0" algn="ctr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Tx/>
                <a:buNone/>
                <a:defRPr sz="1600" b="0" kern="1200">
                  <a:solidFill>
                    <a:schemeClr val="bg1"/>
                  </a:solidFill>
                  <a:latin typeface="Source Sans Pro Semibold" pitchFamily="34" charset="0"/>
                  <a:ea typeface="+mn-ea"/>
                  <a:cs typeface="+mn-cs"/>
                </a:defRPr>
              </a:lvl1pPr>
              <a:lvl2pPr marL="457200" indent="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None/>
                <a:defRPr sz="20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ClrTx/>
                <a:buFont typeface="Symbol" panose="05050102010706020507" pitchFamily="18" charset="2"/>
                <a:buNone/>
                <a:defRPr sz="18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ClrTx/>
                <a:buFont typeface="Symbol" panose="05050102010706020507" pitchFamily="18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ClrTx/>
                <a:buFont typeface="Symbol" panose="05050102010706020507" pitchFamily="18" charset="2"/>
                <a:buNone/>
                <a:tabLst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/>
                <a:t>!</a:t>
              </a:r>
              <a:endParaRPr lang="de-DE" dirty="0"/>
            </a:p>
          </p:txBody>
        </p:sp>
      </p:grp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3D39BA62-CB6D-4D87-997C-6E1960DD010E}"/>
              </a:ext>
            </a:extLst>
          </p:cNvPr>
          <p:cNvGrpSpPr/>
          <p:nvPr/>
        </p:nvGrpSpPr>
        <p:grpSpPr>
          <a:xfrm>
            <a:off x="1357890" y="3249810"/>
            <a:ext cx="1332412" cy="1109876"/>
            <a:chOff x="1357890" y="1708390"/>
            <a:chExt cx="1332412" cy="1109876"/>
          </a:xfrm>
        </p:grpSpPr>
        <p:pic>
          <p:nvPicPr>
            <p:cNvPr id="24578" name="Picture 2" descr="Bildergebnis für fabrik icon">
              <a:extLst>
                <a:ext uri="{FF2B5EF4-FFF2-40B4-BE49-F238E27FC236}">
                  <a16:creationId xmlns:a16="http://schemas.microsoft.com/office/drawing/2014/main" id="{2DB92BA2-B8D3-4648-9618-A44D0115C86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54758" y="2059894"/>
              <a:ext cx="758372" cy="7583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" name="Textfeld 2">
              <a:extLst>
                <a:ext uri="{FF2B5EF4-FFF2-40B4-BE49-F238E27FC236}">
                  <a16:creationId xmlns:a16="http://schemas.microsoft.com/office/drawing/2014/main" id="{A244A928-1545-4E01-B971-A932A7D95B68}"/>
                </a:ext>
              </a:extLst>
            </p:cNvPr>
            <p:cNvSpPr txBox="1"/>
            <p:nvPr/>
          </p:nvSpPr>
          <p:spPr>
            <a:xfrm>
              <a:off x="1357890" y="1708390"/>
              <a:ext cx="1332412" cy="276999"/>
            </a:xfrm>
            <a:prstGeom prst="rect">
              <a:avLst/>
            </a:prstGeom>
            <a:ln w="3175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b="1" dirty="0"/>
                <a:t>1. </a:t>
              </a:r>
              <a:r>
                <a:rPr lang="de-DE" sz="1200" b="1" dirty="0" err="1"/>
                <a:t>Tekfor</a:t>
              </a:r>
              <a:endParaRPr lang="de-DE" sz="1200" b="1" dirty="0"/>
            </a:p>
          </p:txBody>
        </p:sp>
      </p:grpSp>
      <p:grpSp>
        <p:nvGrpSpPr>
          <p:cNvPr id="72" name="Gruppieren 71">
            <a:extLst>
              <a:ext uri="{FF2B5EF4-FFF2-40B4-BE49-F238E27FC236}">
                <a16:creationId xmlns:a16="http://schemas.microsoft.com/office/drawing/2014/main" id="{D05FE86E-FBD4-462D-B78D-939F726A5D02}"/>
              </a:ext>
            </a:extLst>
          </p:cNvPr>
          <p:cNvGrpSpPr/>
          <p:nvPr/>
        </p:nvGrpSpPr>
        <p:grpSpPr>
          <a:xfrm>
            <a:off x="4711650" y="3249810"/>
            <a:ext cx="1332412" cy="1109876"/>
            <a:chOff x="1357890" y="1708390"/>
            <a:chExt cx="1332412" cy="1109876"/>
          </a:xfrm>
        </p:grpSpPr>
        <p:pic>
          <p:nvPicPr>
            <p:cNvPr id="73" name="Picture 2" descr="Bildergebnis für fabrik icon">
              <a:extLst>
                <a:ext uri="{FF2B5EF4-FFF2-40B4-BE49-F238E27FC236}">
                  <a16:creationId xmlns:a16="http://schemas.microsoft.com/office/drawing/2014/main" id="{061C3A35-91F3-4784-AB03-820A71F3BF4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54758" y="2059894"/>
              <a:ext cx="758372" cy="7583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4" name="Textfeld 73">
              <a:extLst>
                <a:ext uri="{FF2B5EF4-FFF2-40B4-BE49-F238E27FC236}">
                  <a16:creationId xmlns:a16="http://schemas.microsoft.com/office/drawing/2014/main" id="{B3E9EDDD-76AC-4243-B98A-6F0E4A202422}"/>
                </a:ext>
              </a:extLst>
            </p:cNvPr>
            <p:cNvSpPr txBox="1"/>
            <p:nvPr/>
          </p:nvSpPr>
          <p:spPr>
            <a:xfrm>
              <a:off x="1357890" y="1708390"/>
              <a:ext cx="1332412" cy="276999"/>
            </a:xfrm>
            <a:prstGeom prst="rect">
              <a:avLst/>
            </a:prstGeom>
            <a:ln w="3175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b="1" dirty="0"/>
                <a:t>2. </a:t>
              </a:r>
              <a:r>
                <a:rPr lang="de-DE" sz="1200" b="1" dirty="0" err="1"/>
                <a:t>Eloxierer</a:t>
              </a:r>
              <a:endParaRPr lang="de-DE" sz="1200" b="1" dirty="0"/>
            </a:p>
          </p:txBody>
        </p:sp>
      </p:grpSp>
      <p:grpSp>
        <p:nvGrpSpPr>
          <p:cNvPr id="75" name="Gruppieren 74">
            <a:extLst>
              <a:ext uri="{FF2B5EF4-FFF2-40B4-BE49-F238E27FC236}">
                <a16:creationId xmlns:a16="http://schemas.microsoft.com/office/drawing/2014/main" id="{796E349E-99AD-4BE2-8F15-9BFC0C04AFA3}"/>
              </a:ext>
            </a:extLst>
          </p:cNvPr>
          <p:cNvGrpSpPr/>
          <p:nvPr/>
        </p:nvGrpSpPr>
        <p:grpSpPr>
          <a:xfrm>
            <a:off x="8065410" y="3249810"/>
            <a:ext cx="1332412" cy="1109876"/>
            <a:chOff x="1357890" y="1708390"/>
            <a:chExt cx="1332412" cy="1109876"/>
          </a:xfrm>
        </p:grpSpPr>
        <p:pic>
          <p:nvPicPr>
            <p:cNvPr id="76" name="Picture 2" descr="Bildergebnis für fabrik icon">
              <a:extLst>
                <a:ext uri="{FF2B5EF4-FFF2-40B4-BE49-F238E27FC236}">
                  <a16:creationId xmlns:a16="http://schemas.microsoft.com/office/drawing/2014/main" id="{F2A54747-7994-44C5-B4A5-8ACFC011D1F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54758" y="2059894"/>
              <a:ext cx="758372" cy="7583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7" name="Textfeld 76">
              <a:extLst>
                <a:ext uri="{FF2B5EF4-FFF2-40B4-BE49-F238E27FC236}">
                  <a16:creationId xmlns:a16="http://schemas.microsoft.com/office/drawing/2014/main" id="{552FAFEC-944B-4CCF-95BB-A8D7599645A7}"/>
                </a:ext>
              </a:extLst>
            </p:cNvPr>
            <p:cNvSpPr txBox="1"/>
            <p:nvPr/>
          </p:nvSpPr>
          <p:spPr>
            <a:xfrm>
              <a:off x="1357890" y="1708390"/>
              <a:ext cx="1332412" cy="276999"/>
            </a:xfrm>
            <a:prstGeom prst="rect">
              <a:avLst/>
            </a:prstGeom>
            <a:ln w="3175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b="1" dirty="0"/>
                <a:t>3. Kunde</a:t>
              </a:r>
            </a:p>
          </p:txBody>
        </p:sp>
      </p:grpSp>
      <p:grpSp>
        <p:nvGrpSpPr>
          <p:cNvPr id="82" name="Gruppieren 81">
            <a:extLst>
              <a:ext uri="{FF2B5EF4-FFF2-40B4-BE49-F238E27FC236}">
                <a16:creationId xmlns:a16="http://schemas.microsoft.com/office/drawing/2014/main" id="{C9E0EC7F-2E95-42F5-86CD-1626D46C66E8}"/>
              </a:ext>
            </a:extLst>
          </p:cNvPr>
          <p:cNvGrpSpPr/>
          <p:nvPr/>
        </p:nvGrpSpPr>
        <p:grpSpPr>
          <a:xfrm>
            <a:off x="4499068" y="4582195"/>
            <a:ext cx="1757575" cy="621506"/>
            <a:chOff x="5670830" y="3594908"/>
            <a:chExt cx="1757575" cy="621506"/>
          </a:xfrm>
        </p:grpSpPr>
        <p:grpSp>
          <p:nvGrpSpPr>
            <p:cNvPr id="83" name="Gruppieren 82">
              <a:extLst>
                <a:ext uri="{FF2B5EF4-FFF2-40B4-BE49-F238E27FC236}">
                  <a16:creationId xmlns:a16="http://schemas.microsoft.com/office/drawing/2014/main" id="{98045F7F-B048-4E07-AA47-1CC858905AF4}"/>
                </a:ext>
              </a:extLst>
            </p:cNvPr>
            <p:cNvGrpSpPr/>
            <p:nvPr/>
          </p:nvGrpSpPr>
          <p:grpSpPr>
            <a:xfrm>
              <a:off x="5670830" y="3594908"/>
              <a:ext cx="1757575" cy="621506"/>
              <a:chOff x="5670830" y="3594908"/>
              <a:chExt cx="1757575" cy="621506"/>
            </a:xfrm>
          </p:grpSpPr>
          <p:sp>
            <p:nvSpPr>
              <p:cNvPr id="85" name="Rechteck: abgerundete Ecken 84">
                <a:extLst>
                  <a:ext uri="{FF2B5EF4-FFF2-40B4-BE49-F238E27FC236}">
                    <a16:creationId xmlns:a16="http://schemas.microsoft.com/office/drawing/2014/main" id="{99A3370E-1F73-485E-9A4F-00FEC248333A}"/>
                  </a:ext>
                </a:extLst>
              </p:cNvPr>
              <p:cNvSpPr/>
              <p:nvPr/>
            </p:nvSpPr>
            <p:spPr>
              <a:xfrm>
                <a:off x="5670830" y="3594908"/>
                <a:ext cx="1757575" cy="62150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e-DE" sz="1600">
                  <a:solidFill>
                    <a:schemeClr val="tx1"/>
                  </a:solidFill>
                </a:endParaRPr>
              </a:p>
            </p:txBody>
          </p:sp>
          <p:sp>
            <p:nvSpPr>
              <p:cNvPr id="86" name="Ellipse 85">
                <a:extLst>
                  <a:ext uri="{FF2B5EF4-FFF2-40B4-BE49-F238E27FC236}">
                    <a16:creationId xmlns:a16="http://schemas.microsoft.com/office/drawing/2014/main" id="{0663563F-5CE5-454F-880D-C72BD6C7C092}"/>
                  </a:ext>
                </a:extLst>
              </p:cNvPr>
              <p:cNvSpPr/>
              <p:nvPr/>
            </p:nvSpPr>
            <p:spPr>
              <a:xfrm>
                <a:off x="5904074" y="3689661"/>
                <a:ext cx="432000" cy="432000"/>
              </a:xfrm>
              <a:prstGeom prst="ellipse">
                <a:avLst/>
              </a:prstGeom>
              <a:solidFill>
                <a:schemeClr val="tx1"/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e-DE" sz="160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84" name="Ellipse 83">
              <a:extLst>
                <a:ext uri="{FF2B5EF4-FFF2-40B4-BE49-F238E27FC236}">
                  <a16:creationId xmlns:a16="http://schemas.microsoft.com/office/drawing/2014/main" id="{E366AB0F-9ACD-4DF6-BDB8-0891ED48CB33}"/>
                </a:ext>
              </a:extLst>
            </p:cNvPr>
            <p:cNvSpPr/>
            <p:nvPr/>
          </p:nvSpPr>
          <p:spPr>
            <a:xfrm>
              <a:off x="6703184" y="3685261"/>
              <a:ext cx="432000" cy="432000"/>
            </a:xfrm>
            <a:prstGeom prst="ellipse">
              <a:avLst/>
            </a:prstGeom>
            <a:solidFill>
              <a:srgbClr val="0A4B9B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>
                <a:solidFill>
                  <a:schemeClr val="tx1"/>
                </a:solidFill>
              </a:endParaRPr>
            </a:p>
          </p:txBody>
        </p:sp>
      </p:grpSp>
      <p:grpSp>
        <p:nvGrpSpPr>
          <p:cNvPr id="87" name="Gruppieren 86">
            <a:extLst>
              <a:ext uri="{FF2B5EF4-FFF2-40B4-BE49-F238E27FC236}">
                <a16:creationId xmlns:a16="http://schemas.microsoft.com/office/drawing/2014/main" id="{3048D281-003A-4F73-89FE-7EBF46411FC1}"/>
              </a:ext>
            </a:extLst>
          </p:cNvPr>
          <p:cNvGrpSpPr/>
          <p:nvPr/>
        </p:nvGrpSpPr>
        <p:grpSpPr>
          <a:xfrm>
            <a:off x="7852828" y="4582195"/>
            <a:ext cx="1757575" cy="621506"/>
            <a:chOff x="5670830" y="3594908"/>
            <a:chExt cx="1757575" cy="621506"/>
          </a:xfrm>
        </p:grpSpPr>
        <p:grpSp>
          <p:nvGrpSpPr>
            <p:cNvPr id="89" name="Gruppieren 88">
              <a:extLst>
                <a:ext uri="{FF2B5EF4-FFF2-40B4-BE49-F238E27FC236}">
                  <a16:creationId xmlns:a16="http://schemas.microsoft.com/office/drawing/2014/main" id="{E5E5E2AF-7B6C-4DDD-8E36-8790F056E46F}"/>
                </a:ext>
              </a:extLst>
            </p:cNvPr>
            <p:cNvGrpSpPr/>
            <p:nvPr/>
          </p:nvGrpSpPr>
          <p:grpSpPr>
            <a:xfrm>
              <a:off x="5670830" y="3594908"/>
              <a:ext cx="1757575" cy="621506"/>
              <a:chOff x="5670830" y="3594908"/>
              <a:chExt cx="1757575" cy="621506"/>
            </a:xfrm>
          </p:grpSpPr>
          <p:sp>
            <p:nvSpPr>
              <p:cNvPr id="91" name="Rechteck: abgerundete Ecken 90">
                <a:extLst>
                  <a:ext uri="{FF2B5EF4-FFF2-40B4-BE49-F238E27FC236}">
                    <a16:creationId xmlns:a16="http://schemas.microsoft.com/office/drawing/2014/main" id="{8C7CDCA3-2CEE-4B02-84F9-758BD54344E7}"/>
                  </a:ext>
                </a:extLst>
              </p:cNvPr>
              <p:cNvSpPr/>
              <p:nvPr/>
            </p:nvSpPr>
            <p:spPr>
              <a:xfrm>
                <a:off x="5670830" y="3594908"/>
                <a:ext cx="1757575" cy="62150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e-DE" sz="1600">
                  <a:solidFill>
                    <a:schemeClr val="tx1"/>
                  </a:solidFill>
                </a:endParaRPr>
              </a:p>
            </p:txBody>
          </p:sp>
          <p:sp>
            <p:nvSpPr>
              <p:cNvPr id="92" name="Ellipse 91">
                <a:extLst>
                  <a:ext uri="{FF2B5EF4-FFF2-40B4-BE49-F238E27FC236}">
                    <a16:creationId xmlns:a16="http://schemas.microsoft.com/office/drawing/2014/main" id="{D4CFA0CB-A7AF-488B-B179-08C97F7E71BC}"/>
                  </a:ext>
                </a:extLst>
              </p:cNvPr>
              <p:cNvSpPr/>
              <p:nvPr/>
            </p:nvSpPr>
            <p:spPr>
              <a:xfrm>
                <a:off x="5904074" y="3689661"/>
                <a:ext cx="432000" cy="432000"/>
              </a:xfrm>
              <a:prstGeom prst="ellipse">
                <a:avLst/>
              </a:prstGeom>
              <a:solidFill>
                <a:schemeClr val="tx1"/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e-DE" sz="160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90" name="Ellipse 89">
              <a:extLst>
                <a:ext uri="{FF2B5EF4-FFF2-40B4-BE49-F238E27FC236}">
                  <a16:creationId xmlns:a16="http://schemas.microsoft.com/office/drawing/2014/main" id="{3AD8934D-639F-4634-9616-C0DC7F5FCFB5}"/>
                </a:ext>
              </a:extLst>
            </p:cNvPr>
            <p:cNvSpPr/>
            <p:nvPr/>
          </p:nvSpPr>
          <p:spPr>
            <a:xfrm>
              <a:off x="6703184" y="3685261"/>
              <a:ext cx="432000" cy="432000"/>
            </a:xfrm>
            <a:prstGeom prst="ellipse">
              <a:avLst/>
            </a:prstGeom>
            <a:solidFill>
              <a:srgbClr val="0A4B9B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>
                <a:solidFill>
                  <a:schemeClr val="tx1"/>
                </a:solidFill>
              </a:endParaRPr>
            </a:p>
          </p:txBody>
        </p:sp>
      </p:grpSp>
      <p:grpSp>
        <p:nvGrpSpPr>
          <p:cNvPr id="96" name="Gruppieren 95">
            <a:extLst>
              <a:ext uri="{FF2B5EF4-FFF2-40B4-BE49-F238E27FC236}">
                <a16:creationId xmlns:a16="http://schemas.microsoft.com/office/drawing/2014/main" id="{832E0229-AA5B-4E73-84D3-FF1A464AE829}"/>
              </a:ext>
            </a:extLst>
          </p:cNvPr>
          <p:cNvGrpSpPr/>
          <p:nvPr/>
        </p:nvGrpSpPr>
        <p:grpSpPr>
          <a:xfrm>
            <a:off x="1213890" y="5543005"/>
            <a:ext cx="2681210" cy="288000"/>
            <a:chOff x="654173" y="5421087"/>
            <a:chExt cx="2681210" cy="288000"/>
          </a:xfrm>
        </p:grpSpPr>
        <p:sp>
          <p:nvSpPr>
            <p:cNvPr id="97" name="Ellipse 96">
              <a:extLst>
                <a:ext uri="{FF2B5EF4-FFF2-40B4-BE49-F238E27FC236}">
                  <a16:creationId xmlns:a16="http://schemas.microsoft.com/office/drawing/2014/main" id="{62DE0EC7-D4C9-482E-BBE6-09AB2308A52A}"/>
                </a:ext>
              </a:extLst>
            </p:cNvPr>
            <p:cNvSpPr/>
            <p:nvPr/>
          </p:nvSpPr>
          <p:spPr>
            <a:xfrm>
              <a:off x="654173" y="5421087"/>
              <a:ext cx="288000" cy="288000"/>
            </a:xfrm>
            <a:prstGeom prst="ellipse">
              <a:avLst/>
            </a:prstGeom>
            <a:solidFill>
              <a:srgbClr val="00B050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>
                <a:solidFill>
                  <a:schemeClr val="tx1"/>
                </a:solidFill>
              </a:endParaRPr>
            </a:p>
          </p:txBody>
        </p:sp>
        <p:sp>
          <p:nvSpPr>
            <p:cNvPr id="98" name="Textfeld 97">
              <a:extLst>
                <a:ext uri="{FF2B5EF4-FFF2-40B4-BE49-F238E27FC236}">
                  <a16:creationId xmlns:a16="http://schemas.microsoft.com/office/drawing/2014/main" id="{7667D59C-0CC9-4908-ABB2-E0F6FC047E73}"/>
                </a:ext>
              </a:extLst>
            </p:cNvPr>
            <p:cNvSpPr txBox="1"/>
            <p:nvPr/>
          </p:nvSpPr>
          <p:spPr>
            <a:xfrm>
              <a:off x="995041" y="5426588"/>
              <a:ext cx="2340342" cy="276999"/>
            </a:xfrm>
            <a:prstGeom prst="rect">
              <a:avLst/>
            </a:prstGeom>
            <a:ln w="3175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de-DE" sz="1200" dirty="0"/>
                <a:t>Real-Time Streaming Analytics</a:t>
              </a:r>
            </a:p>
          </p:txBody>
        </p:sp>
      </p:grpSp>
      <p:grpSp>
        <p:nvGrpSpPr>
          <p:cNvPr id="99" name="Gruppieren 98">
            <a:extLst>
              <a:ext uri="{FF2B5EF4-FFF2-40B4-BE49-F238E27FC236}">
                <a16:creationId xmlns:a16="http://schemas.microsoft.com/office/drawing/2014/main" id="{99EE496C-AD74-461E-BD17-53EA87A115F1}"/>
              </a:ext>
            </a:extLst>
          </p:cNvPr>
          <p:cNvGrpSpPr/>
          <p:nvPr/>
        </p:nvGrpSpPr>
        <p:grpSpPr>
          <a:xfrm>
            <a:off x="3895100" y="5537505"/>
            <a:ext cx="2972946" cy="288000"/>
            <a:chOff x="654173" y="5421087"/>
            <a:chExt cx="2972946" cy="288000"/>
          </a:xfrm>
        </p:grpSpPr>
        <p:sp>
          <p:nvSpPr>
            <p:cNvPr id="100" name="Ellipse 99">
              <a:extLst>
                <a:ext uri="{FF2B5EF4-FFF2-40B4-BE49-F238E27FC236}">
                  <a16:creationId xmlns:a16="http://schemas.microsoft.com/office/drawing/2014/main" id="{B7B51E06-9721-4839-BD03-F5BE22B4FDE7}"/>
                </a:ext>
              </a:extLst>
            </p:cNvPr>
            <p:cNvSpPr/>
            <p:nvPr/>
          </p:nvSpPr>
          <p:spPr>
            <a:xfrm>
              <a:off x="654173" y="5421087"/>
              <a:ext cx="288000" cy="288000"/>
            </a:xfrm>
            <a:prstGeom prst="ellipse">
              <a:avLst/>
            </a:prstGeom>
            <a:solidFill>
              <a:srgbClr val="D40E3A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>
                <a:solidFill>
                  <a:schemeClr val="tx1"/>
                </a:solidFill>
              </a:endParaRPr>
            </a:p>
          </p:txBody>
        </p:sp>
        <p:sp>
          <p:nvSpPr>
            <p:cNvPr id="101" name="Textfeld 100">
              <a:extLst>
                <a:ext uri="{FF2B5EF4-FFF2-40B4-BE49-F238E27FC236}">
                  <a16:creationId xmlns:a16="http://schemas.microsoft.com/office/drawing/2014/main" id="{F3A02567-37BA-4710-A68A-BD3F3BC6119E}"/>
                </a:ext>
              </a:extLst>
            </p:cNvPr>
            <p:cNvSpPr txBox="1"/>
            <p:nvPr/>
          </p:nvSpPr>
          <p:spPr>
            <a:xfrm>
              <a:off x="995040" y="5426588"/>
              <a:ext cx="2632079" cy="276999"/>
            </a:xfrm>
            <a:prstGeom prst="rect">
              <a:avLst/>
            </a:prstGeom>
            <a:ln w="3175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de-DE" sz="1200" dirty="0"/>
                <a:t>Modell Training/Transfer Learning</a:t>
              </a:r>
            </a:p>
          </p:txBody>
        </p:sp>
      </p:grpSp>
      <p:grpSp>
        <p:nvGrpSpPr>
          <p:cNvPr id="102" name="Gruppieren 101">
            <a:extLst>
              <a:ext uri="{FF2B5EF4-FFF2-40B4-BE49-F238E27FC236}">
                <a16:creationId xmlns:a16="http://schemas.microsoft.com/office/drawing/2014/main" id="{67EED68E-6612-49B2-A56A-ACD4B1A6EB47}"/>
              </a:ext>
            </a:extLst>
          </p:cNvPr>
          <p:cNvGrpSpPr/>
          <p:nvPr/>
        </p:nvGrpSpPr>
        <p:grpSpPr>
          <a:xfrm>
            <a:off x="8152257" y="5537505"/>
            <a:ext cx="1200754" cy="288000"/>
            <a:chOff x="654173" y="5421087"/>
            <a:chExt cx="1200754" cy="288000"/>
          </a:xfrm>
        </p:grpSpPr>
        <p:sp>
          <p:nvSpPr>
            <p:cNvPr id="103" name="Ellipse 102">
              <a:extLst>
                <a:ext uri="{FF2B5EF4-FFF2-40B4-BE49-F238E27FC236}">
                  <a16:creationId xmlns:a16="http://schemas.microsoft.com/office/drawing/2014/main" id="{B70E4CFC-327D-4B71-96DD-CA1C938B5EF3}"/>
                </a:ext>
              </a:extLst>
            </p:cNvPr>
            <p:cNvSpPr/>
            <p:nvPr/>
          </p:nvSpPr>
          <p:spPr>
            <a:xfrm>
              <a:off x="654173" y="5421087"/>
              <a:ext cx="288000" cy="288000"/>
            </a:xfrm>
            <a:prstGeom prst="ellipse">
              <a:avLst/>
            </a:prstGeom>
            <a:solidFill>
              <a:srgbClr val="0A4B9B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>
                <a:solidFill>
                  <a:schemeClr val="tx1"/>
                </a:solidFill>
              </a:endParaRPr>
            </a:p>
          </p:txBody>
        </p:sp>
        <p:sp>
          <p:nvSpPr>
            <p:cNvPr id="104" name="Textfeld 103">
              <a:extLst>
                <a:ext uri="{FF2B5EF4-FFF2-40B4-BE49-F238E27FC236}">
                  <a16:creationId xmlns:a16="http://schemas.microsoft.com/office/drawing/2014/main" id="{7CBD687B-0486-450B-A1FB-E00FD2D6070E}"/>
                </a:ext>
              </a:extLst>
            </p:cNvPr>
            <p:cNvSpPr txBox="1"/>
            <p:nvPr/>
          </p:nvSpPr>
          <p:spPr>
            <a:xfrm>
              <a:off x="995041" y="5426588"/>
              <a:ext cx="859886" cy="276999"/>
            </a:xfrm>
            <a:prstGeom prst="rect">
              <a:avLst/>
            </a:prstGeom>
            <a:ln w="3175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de-DE" sz="1200" dirty="0"/>
                <a:t>HMI</a:t>
              </a:r>
            </a:p>
          </p:txBody>
        </p:sp>
      </p:grpSp>
      <p:grpSp>
        <p:nvGrpSpPr>
          <p:cNvPr id="105" name="Gruppieren 104">
            <a:extLst>
              <a:ext uri="{FF2B5EF4-FFF2-40B4-BE49-F238E27FC236}">
                <a16:creationId xmlns:a16="http://schemas.microsoft.com/office/drawing/2014/main" id="{FED0074B-EACB-4C1E-ADCF-5CBEFD187BC7}"/>
              </a:ext>
            </a:extLst>
          </p:cNvPr>
          <p:cNvGrpSpPr/>
          <p:nvPr/>
        </p:nvGrpSpPr>
        <p:grpSpPr>
          <a:xfrm>
            <a:off x="6782596" y="5532005"/>
            <a:ext cx="1083756" cy="288000"/>
            <a:chOff x="654173" y="5421087"/>
            <a:chExt cx="1083756" cy="288000"/>
          </a:xfrm>
        </p:grpSpPr>
        <p:sp>
          <p:nvSpPr>
            <p:cNvPr id="106" name="Ellipse 105">
              <a:extLst>
                <a:ext uri="{FF2B5EF4-FFF2-40B4-BE49-F238E27FC236}">
                  <a16:creationId xmlns:a16="http://schemas.microsoft.com/office/drawing/2014/main" id="{5C055421-CCE2-49CA-B58F-E372B0BD9FCC}"/>
                </a:ext>
              </a:extLst>
            </p:cNvPr>
            <p:cNvSpPr/>
            <p:nvPr/>
          </p:nvSpPr>
          <p:spPr>
            <a:xfrm>
              <a:off x="654173" y="5421087"/>
              <a:ext cx="288000" cy="288000"/>
            </a:xfrm>
            <a:prstGeom prst="ellipse">
              <a:avLst/>
            </a:prstGeom>
            <a:solidFill>
              <a:schemeClr val="tx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>
                <a:solidFill>
                  <a:schemeClr val="tx1"/>
                </a:solidFill>
              </a:endParaRPr>
            </a:p>
          </p:txBody>
        </p:sp>
        <p:sp>
          <p:nvSpPr>
            <p:cNvPr id="107" name="Textfeld 106">
              <a:extLst>
                <a:ext uri="{FF2B5EF4-FFF2-40B4-BE49-F238E27FC236}">
                  <a16:creationId xmlns:a16="http://schemas.microsoft.com/office/drawing/2014/main" id="{8D5EBF6F-E9BC-45D4-B68E-586525D7E9ED}"/>
                </a:ext>
              </a:extLst>
            </p:cNvPr>
            <p:cNvSpPr txBox="1"/>
            <p:nvPr/>
          </p:nvSpPr>
          <p:spPr>
            <a:xfrm>
              <a:off x="995041" y="5426588"/>
              <a:ext cx="742888" cy="276999"/>
            </a:xfrm>
            <a:prstGeom prst="rect">
              <a:avLst/>
            </a:prstGeom>
            <a:ln w="3175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de-DE" sz="1200" dirty="0"/>
                <a:t>Kamera</a:t>
              </a:r>
            </a:p>
          </p:txBody>
        </p:sp>
      </p:grpSp>
      <p:grpSp>
        <p:nvGrpSpPr>
          <p:cNvPr id="108" name="Gruppieren 107">
            <a:extLst>
              <a:ext uri="{FF2B5EF4-FFF2-40B4-BE49-F238E27FC236}">
                <a16:creationId xmlns:a16="http://schemas.microsoft.com/office/drawing/2014/main" id="{A3285CAE-1104-471E-8084-74EF91131CBE}"/>
              </a:ext>
            </a:extLst>
          </p:cNvPr>
          <p:cNvGrpSpPr/>
          <p:nvPr/>
        </p:nvGrpSpPr>
        <p:grpSpPr>
          <a:xfrm>
            <a:off x="9505549" y="5526505"/>
            <a:ext cx="1159009" cy="288000"/>
            <a:chOff x="8808859" y="6214484"/>
            <a:chExt cx="1159009" cy="288000"/>
          </a:xfrm>
        </p:grpSpPr>
        <p:sp>
          <p:nvSpPr>
            <p:cNvPr id="109" name="Textfeld 108">
              <a:extLst>
                <a:ext uri="{FF2B5EF4-FFF2-40B4-BE49-F238E27FC236}">
                  <a16:creationId xmlns:a16="http://schemas.microsoft.com/office/drawing/2014/main" id="{9160DE90-D05F-47D4-B3C1-0E984B6DFA7F}"/>
                </a:ext>
              </a:extLst>
            </p:cNvPr>
            <p:cNvSpPr txBox="1"/>
            <p:nvPr/>
          </p:nvSpPr>
          <p:spPr>
            <a:xfrm>
              <a:off x="9107983" y="6225485"/>
              <a:ext cx="859885" cy="276999"/>
            </a:xfrm>
            <a:prstGeom prst="rect">
              <a:avLst/>
            </a:prstGeom>
            <a:ln w="3175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de-DE" sz="1200" dirty="0"/>
                <a:t>Hardware</a:t>
              </a:r>
            </a:p>
          </p:txBody>
        </p:sp>
        <p:sp>
          <p:nvSpPr>
            <p:cNvPr id="110" name="Rechteck: abgerundete Ecken 109">
              <a:extLst>
                <a:ext uri="{FF2B5EF4-FFF2-40B4-BE49-F238E27FC236}">
                  <a16:creationId xmlns:a16="http://schemas.microsoft.com/office/drawing/2014/main" id="{333EFE5E-5C6F-499E-8BA4-99EC70100D66}"/>
                </a:ext>
              </a:extLst>
            </p:cNvPr>
            <p:cNvSpPr/>
            <p:nvPr/>
          </p:nvSpPr>
          <p:spPr>
            <a:xfrm>
              <a:off x="8808859" y="6214484"/>
              <a:ext cx="288000" cy="288000"/>
            </a:xfrm>
            <a:prstGeom prst="roundRect">
              <a:avLst/>
            </a:prstGeom>
            <a:noFill/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>
                <a:solidFill>
                  <a:schemeClr val="tx1"/>
                </a:solidFill>
              </a:endParaRPr>
            </a:p>
          </p:txBody>
        </p:sp>
      </p:grpSp>
      <p:pic>
        <p:nvPicPr>
          <p:cNvPr id="24586" name="Picture 10" descr="Bildergebnis für cloud icon">
            <a:extLst>
              <a:ext uri="{FF2B5EF4-FFF2-40B4-BE49-F238E27FC236}">
                <a16:creationId xmlns:a16="http://schemas.microsoft.com/office/drawing/2014/main" id="{2C9AB985-9C8F-4AB9-8E46-0CA107FA65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4896" y="1517273"/>
            <a:ext cx="1413051" cy="14130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9677669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el 1"/>
          <p:cNvSpPr txBox="1">
            <a:spLocks/>
          </p:cNvSpPr>
          <p:nvPr/>
        </p:nvSpPr>
        <p:spPr>
          <a:xfrm>
            <a:off x="382588" y="919195"/>
            <a:ext cx="10346372" cy="828000"/>
          </a:xfrm>
          <a:prstGeom prst="rect">
            <a:avLst/>
          </a:prstGeom>
        </p:spPr>
        <p:txBody>
          <a:bodyPr vert="horz" lIns="36000" tIns="36000" rIns="36000" bIns="36000" rtlCol="0" anchor="t">
            <a:noAutofit/>
          </a:bodyPr>
          <a:lstStyle>
            <a:lvl1pPr algn="l" defTabSz="685800" rtl="0" eaLnBrk="1" latinLnBrk="0" hangingPunct="1">
              <a:lnSpc>
                <a:spcPts val="2175"/>
              </a:lnSpc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3200" dirty="0" err="1"/>
              <a:t>Quox</a:t>
            </a:r>
            <a:r>
              <a:rPr lang="de-DE" sz="3200" dirty="0"/>
              <a:t> – Real-Time Streaming Analytics (</a:t>
            </a:r>
            <a:r>
              <a:rPr lang="de-DE" sz="3200" dirty="0" err="1"/>
              <a:t>Nvidia</a:t>
            </a:r>
            <a:r>
              <a:rPr lang="de-DE" sz="3200" dirty="0"/>
              <a:t> </a:t>
            </a:r>
            <a:r>
              <a:rPr lang="de-DE" sz="3200" dirty="0" err="1"/>
              <a:t>DeepStream</a:t>
            </a:r>
            <a:r>
              <a:rPr lang="de-DE" sz="3200" dirty="0"/>
              <a:t>)</a:t>
            </a:r>
          </a:p>
        </p:txBody>
      </p:sp>
      <p:grpSp>
        <p:nvGrpSpPr>
          <p:cNvPr id="64" name="Gruppieren 63">
            <a:extLst>
              <a:ext uri="{FF2B5EF4-FFF2-40B4-BE49-F238E27FC236}">
                <a16:creationId xmlns:a16="http://schemas.microsoft.com/office/drawing/2014/main" id="{6D50923F-E237-4925-AE9D-A6754E123266}"/>
              </a:ext>
            </a:extLst>
          </p:cNvPr>
          <p:cNvGrpSpPr/>
          <p:nvPr/>
        </p:nvGrpSpPr>
        <p:grpSpPr>
          <a:xfrm>
            <a:off x="302366" y="6191794"/>
            <a:ext cx="11663104" cy="463351"/>
            <a:chOff x="302366" y="6098591"/>
            <a:chExt cx="11663104" cy="360000"/>
          </a:xfrm>
        </p:grpSpPr>
        <p:sp>
          <p:nvSpPr>
            <p:cNvPr id="65" name="Textplatzhalter 2">
              <a:extLst>
                <a:ext uri="{FF2B5EF4-FFF2-40B4-BE49-F238E27FC236}">
                  <a16:creationId xmlns:a16="http://schemas.microsoft.com/office/drawing/2014/main" id="{B8B8CBD6-3B3C-4CED-8A92-C610AF0AF67E}"/>
                </a:ext>
              </a:extLst>
            </p:cNvPr>
            <p:cNvSpPr txBox="1">
              <a:spLocks/>
            </p:cNvSpPr>
            <p:nvPr/>
          </p:nvSpPr>
          <p:spPr>
            <a:xfrm>
              <a:off x="654174" y="6098591"/>
              <a:ext cx="11311296" cy="36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none" lIns="180000" tIns="36000" rIns="36000" bIns="36000" rtlCol="0" anchor="ctr">
              <a:noAutofit/>
            </a:bodyPr>
            <a:lstStyle>
              <a:lvl1pPr marL="0" indent="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Tx/>
                <a:buNone/>
                <a:defRPr sz="1400" b="0" kern="1200" baseline="0">
                  <a:solidFill>
                    <a:schemeClr val="bg1"/>
                  </a:solidFill>
                  <a:latin typeface="Source Sans Pro Semibold" pitchFamily="34" charset="0"/>
                  <a:ea typeface="+mn-ea"/>
                  <a:cs typeface="+mn-cs"/>
                </a:defRPr>
              </a:lvl1pPr>
              <a:lvl2pPr marL="457200" indent="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None/>
                <a:defRPr sz="20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ClrTx/>
                <a:buFont typeface="Symbol" panose="05050102010706020507" pitchFamily="18" charset="2"/>
                <a:buNone/>
                <a:defRPr sz="18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ClrTx/>
                <a:buFont typeface="Symbol" panose="05050102010706020507" pitchFamily="18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ClrTx/>
                <a:buFont typeface="Symbol" panose="05050102010706020507" pitchFamily="18" charset="2"/>
                <a:buNone/>
                <a:tabLst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dirty="0" err="1"/>
                <a:t>Nvidia</a:t>
              </a:r>
              <a:r>
                <a:rPr lang="de-DE" dirty="0"/>
                <a:t> </a:t>
              </a:r>
              <a:r>
                <a:rPr lang="de-DE" dirty="0" err="1"/>
                <a:t>DeepStream</a:t>
              </a:r>
              <a:r>
                <a:rPr lang="de-DE" dirty="0"/>
                <a:t> SDK erleichtert Video-Input, Inferenz, </a:t>
              </a:r>
              <a:r>
                <a:rPr lang="de-DE" dirty="0" err="1"/>
                <a:t>IoT</a:t>
              </a:r>
              <a:r>
                <a:rPr lang="de-DE" dirty="0"/>
                <a:t> </a:t>
              </a:r>
              <a:r>
                <a:rPr lang="de-DE"/>
                <a:t>und Display.</a:t>
              </a:r>
              <a:endParaRPr lang="de-DE" dirty="0"/>
            </a:p>
          </p:txBody>
        </p:sp>
        <p:sp>
          <p:nvSpPr>
            <p:cNvPr id="66" name="Textplatzhalter 10">
              <a:extLst>
                <a:ext uri="{FF2B5EF4-FFF2-40B4-BE49-F238E27FC236}">
                  <a16:creationId xmlns:a16="http://schemas.microsoft.com/office/drawing/2014/main" id="{8FDB75F2-014B-4564-976C-DB9188AA73B2}"/>
                </a:ext>
              </a:extLst>
            </p:cNvPr>
            <p:cNvSpPr txBox="1">
              <a:spLocks/>
            </p:cNvSpPr>
            <p:nvPr/>
          </p:nvSpPr>
          <p:spPr>
            <a:xfrm>
              <a:off x="302366" y="6098591"/>
              <a:ext cx="360000" cy="360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lIns="36000" tIns="36000" rIns="36000" bIns="36000" rtlCol="0" anchor="ctr">
              <a:noAutofit/>
            </a:bodyPr>
            <a:lstStyle>
              <a:lvl1pPr marL="0" indent="0" algn="ctr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Tx/>
                <a:buNone/>
                <a:defRPr sz="1600" b="0" kern="1200">
                  <a:solidFill>
                    <a:schemeClr val="bg1"/>
                  </a:solidFill>
                  <a:latin typeface="Source Sans Pro Semibold" pitchFamily="34" charset="0"/>
                  <a:ea typeface="+mn-ea"/>
                  <a:cs typeface="+mn-cs"/>
                </a:defRPr>
              </a:lvl1pPr>
              <a:lvl2pPr marL="457200" indent="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None/>
                <a:defRPr sz="20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ClrTx/>
                <a:buFont typeface="Symbol" panose="05050102010706020507" pitchFamily="18" charset="2"/>
                <a:buNone/>
                <a:defRPr sz="18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ClrTx/>
                <a:buFont typeface="Symbol" panose="05050102010706020507" pitchFamily="18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ClrTx/>
                <a:buFont typeface="Symbol" panose="05050102010706020507" pitchFamily="18" charset="2"/>
                <a:buNone/>
                <a:tabLst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/>
                <a:t>!</a:t>
              </a:r>
              <a:endParaRPr lang="de-DE" dirty="0"/>
            </a:p>
          </p:txBody>
        </p:sp>
      </p:grpSp>
      <p:pic>
        <p:nvPicPr>
          <p:cNvPr id="2" name="Grafik 1">
            <a:extLst>
              <a:ext uri="{FF2B5EF4-FFF2-40B4-BE49-F238E27FC236}">
                <a16:creationId xmlns:a16="http://schemas.microsoft.com/office/drawing/2014/main" id="{D1AD7B32-36E0-4A11-BC2A-F5EBBD97B65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2480" y="1941935"/>
            <a:ext cx="9936480" cy="35545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525054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020EDFA4-89D9-4BF7-915B-677F63CDF47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89623" y="1935688"/>
            <a:ext cx="10909144" cy="3740374"/>
          </a:xfrm>
        </p:spPr>
        <p:txBody>
          <a:bodyPr/>
          <a:lstStyle/>
          <a:p>
            <a:r>
              <a:rPr lang="de-DE" dirty="0"/>
              <a:t>Ausgangsbasis:</a:t>
            </a:r>
          </a:p>
          <a:p>
            <a:pPr marL="171450" indent="-171450">
              <a:buFontTx/>
              <a:buChar char="-"/>
            </a:pPr>
            <a:r>
              <a:rPr lang="de-DE" dirty="0"/>
              <a:t>Autarke Stand Alone Anlage für Rotenburg gewünscht, mobil und </a:t>
            </a:r>
            <a:r>
              <a:rPr lang="de-DE" dirty="0" err="1"/>
              <a:t>ggf</a:t>
            </a:r>
            <a:r>
              <a:rPr lang="de-DE" dirty="0"/>
              <a:t> auch für weitere Produkte einsetzbar</a:t>
            </a:r>
          </a:p>
          <a:p>
            <a:pPr marL="171450" indent="-171450">
              <a:buFontTx/>
              <a:buChar char="-"/>
            </a:pPr>
            <a:r>
              <a:rPr lang="de-DE" dirty="0"/>
              <a:t>Rollenkonzept beim Anlernen (Werker kann </a:t>
            </a:r>
            <a:r>
              <a:rPr lang="de-DE" dirty="0" err="1"/>
              <a:t>i.O</a:t>
            </a:r>
            <a:r>
              <a:rPr lang="de-DE" dirty="0"/>
              <a:t>. Entscheidung treffen / Qualität entscheidet final, ob System umgelernt wird)</a:t>
            </a:r>
          </a:p>
          <a:p>
            <a:pPr marL="171450" indent="-171450">
              <a:buFontTx/>
              <a:buChar char="-"/>
            </a:pPr>
            <a:r>
              <a:rPr lang="de-DE" dirty="0"/>
              <a:t>Nicht nur Kratzer auch Farbunterschiede müssen erkannt werden</a:t>
            </a:r>
          </a:p>
          <a:p>
            <a:pPr marL="171450" indent="-171450">
              <a:buFontTx/>
              <a:buChar char="-"/>
            </a:pPr>
            <a:r>
              <a:rPr lang="de-DE" dirty="0"/>
              <a:t>Musterkoffer </a:t>
            </a:r>
            <a:r>
              <a:rPr lang="de-DE" dirty="0" err="1"/>
              <a:t>n.i.O</a:t>
            </a:r>
            <a:r>
              <a:rPr lang="de-DE" dirty="0"/>
              <a:t>. Teile vorhanden</a:t>
            </a:r>
          </a:p>
          <a:p>
            <a:pPr marL="171450" indent="-171450">
              <a:buFontTx/>
              <a:buChar char="-"/>
            </a:pPr>
            <a:r>
              <a:rPr lang="de-DE" dirty="0"/>
              <a:t>Perspektivisch für andere Bauteile DMC Code zur eineindeutigen Zuordnung integrieren</a:t>
            </a:r>
          </a:p>
          <a:p>
            <a:endParaRPr lang="de-DE" dirty="0"/>
          </a:p>
          <a:p>
            <a:r>
              <a:rPr lang="de-DE" dirty="0"/>
              <a:t>- Komplettpreis oder Abrechnung pro Stück anbieten</a:t>
            </a:r>
          </a:p>
          <a:p>
            <a:endParaRPr lang="de-DE" dirty="0"/>
          </a:p>
          <a:p>
            <a:r>
              <a:rPr lang="de-DE" dirty="0"/>
              <a:t>Basispaket: </a:t>
            </a:r>
          </a:p>
          <a:p>
            <a:pPr marL="375047" lvl="1" indent="-171450">
              <a:buFontTx/>
              <a:buChar char="-"/>
            </a:pPr>
            <a:r>
              <a:rPr lang="de-DE" dirty="0"/>
              <a:t>Box (Kameras, Licht, Kasten, NVIDIA </a:t>
            </a:r>
            <a:r>
              <a:rPr lang="de-DE" dirty="0" err="1"/>
              <a:t>Jetson</a:t>
            </a:r>
            <a:r>
              <a:rPr lang="de-DE" dirty="0"/>
              <a:t>, Display, Maus) –&gt; Umgang mit Geräteausfall / „</a:t>
            </a:r>
            <a:r>
              <a:rPr lang="de-DE" dirty="0" err="1"/>
              <a:t>industrial</a:t>
            </a:r>
            <a:r>
              <a:rPr lang="de-DE" dirty="0"/>
              <a:t> grade“</a:t>
            </a:r>
          </a:p>
          <a:p>
            <a:pPr marL="375047" lvl="1" indent="-171450">
              <a:buFontTx/>
              <a:buChar char="-"/>
            </a:pPr>
            <a:r>
              <a:rPr lang="de-DE" dirty="0"/>
              <a:t>Bediensystem und Prozesse umsetzen, Bereitstellung Datensatz</a:t>
            </a:r>
          </a:p>
          <a:p>
            <a:pPr marL="375047" lvl="1" indent="-171450">
              <a:buFontTx/>
              <a:buChar char="-"/>
            </a:pPr>
            <a:r>
              <a:rPr lang="de-DE" dirty="0"/>
              <a:t>KI-Lernen</a:t>
            </a:r>
          </a:p>
          <a:p>
            <a:pPr marL="375047" lvl="1" indent="-171450">
              <a:buFontTx/>
              <a:buChar char="-"/>
            </a:pPr>
            <a:r>
              <a:rPr lang="de-DE"/>
              <a:t>Back-Up Funktion</a:t>
            </a:r>
            <a:endParaRPr lang="de-DE" dirty="0"/>
          </a:p>
          <a:p>
            <a:pPr marL="171450" indent="-171450">
              <a:buFontTx/>
              <a:buChar char="-"/>
            </a:pPr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6B93228C-8B1C-4E52-9615-1C3629735B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stenindikatio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F9570BE-78B3-49D8-B255-6213863BBE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master der MVI Group                                                                                                                                                     01.09.2016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FA4AD19-25B8-4B06-8A6B-E08EF8B16F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930CFF-92E5-45D8-B02D-7D2C24FD84C9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711702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VI-SOLVE-IT Master 2014">
  <a:themeElements>
    <a:clrScheme name="MVI SOLVE IT 2014">
      <a:dk1>
        <a:srgbClr val="303133"/>
      </a:dk1>
      <a:lt1>
        <a:sysClr val="window" lastClr="FFFFFF"/>
      </a:lt1>
      <a:dk2>
        <a:srgbClr val="D40E3A"/>
      </a:dk2>
      <a:lt2>
        <a:srgbClr val="E2E3E5"/>
      </a:lt2>
      <a:accent1>
        <a:srgbClr val="0A4B9B"/>
      </a:accent1>
      <a:accent2>
        <a:srgbClr val="DD3E61"/>
      </a:accent2>
      <a:accent3>
        <a:srgbClr val="DF869C"/>
      </a:accent3>
      <a:accent4>
        <a:srgbClr val="3C6FAF"/>
      </a:accent4>
      <a:accent5>
        <a:srgbClr val="85A5CD"/>
      </a:accent5>
      <a:accent6>
        <a:srgbClr val="303133"/>
      </a:accent6>
      <a:hlink>
        <a:srgbClr val="303133"/>
      </a:hlink>
      <a:folHlink>
        <a:srgbClr val="E2E3E5"/>
      </a:folHlink>
    </a:clrScheme>
    <a:fontScheme name="MVI">
      <a:majorFont>
        <a:latin typeface="Source Sans Pro Light"/>
        <a:ea typeface=""/>
        <a:cs typeface=""/>
      </a:majorFont>
      <a:minorFont>
        <a:latin typeface="Source Sans Pro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 w="3175">
          <a:solidFill>
            <a:schemeClr val="tx1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algn="ctr">
          <a:defRPr sz="16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3175">
          <a:solidFill>
            <a:schemeClr val="tx1"/>
          </a:solidFill>
        </a:ln>
      </a:spPr>
      <a:bodyPr/>
      <a:lstStyle>
        <a:defPPr>
          <a:defRPr sz="1200"/>
        </a:defPPr>
      </a:lstStyle>
    </a:txDef>
  </a:objectDefaults>
  <a:extraClrSchemeLst/>
</a:theme>
</file>

<file path=ppt/theme/theme2.xml><?xml version="1.0" encoding="utf-8"?>
<a:theme xmlns:a="http://schemas.openxmlformats.org/drawingml/2006/main" name="1_MVI-SOLVE-IT Master 2014">
  <a:themeElements>
    <a:clrScheme name="MVI SOLVE IT 2014">
      <a:dk1>
        <a:srgbClr val="303133"/>
      </a:dk1>
      <a:lt1>
        <a:sysClr val="window" lastClr="FFFFFF"/>
      </a:lt1>
      <a:dk2>
        <a:srgbClr val="D40E3A"/>
      </a:dk2>
      <a:lt2>
        <a:srgbClr val="E2E3E5"/>
      </a:lt2>
      <a:accent1>
        <a:srgbClr val="0A4B9B"/>
      </a:accent1>
      <a:accent2>
        <a:srgbClr val="DD3E61"/>
      </a:accent2>
      <a:accent3>
        <a:srgbClr val="DF869C"/>
      </a:accent3>
      <a:accent4>
        <a:srgbClr val="3C6FAF"/>
      </a:accent4>
      <a:accent5>
        <a:srgbClr val="85A5CD"/>
      </a:accent5>
      <a:accent6>
        <a:srgbClr val="303133"/>
      </a:accent6>
      <a:hlink>
        <a:srgbClr val="303133"/>
      </a:hlink>
      <a:folHlink>
        <a:srgbClr val="E2E3E5"/>
      </a:folHlink>
    </a:clrScheme>
    <a:fontScheme name="MVI">
      <a:majorFont>
        <a:latin typeface="Source Sans Pro Light"/>
        <a:ea typeface=""/>
        <a:cs typeface=""/>
      </a:majorFont>
      <a:minorFont>
        <a:latin typeface="Source Sans Pro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 w="3175">
          <a:solidFill>
            <a:schemeClr val="tx1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algn="ctr">
          <a:defRPr sz="16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3175">
          <a:solidFill>
            <a:schemeClr val="tx1"/>
          </a:solidFill>
        </a:ln>
      </a:spPr>
      <a:bodyPr/>
      <a:lstStyle>
        <a:defPPr>
          <a:defRPr sz="1200"/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0C31D589205C1147BCD52D49651B9C46" ma:contentTypeVersion="0" ma:contentTypeDescription="Ein neues Dokument erstellen." ma:contentTypeScope="" ma:versionID="cc401a076a793bdad93ecc825924a4b2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0627edd4f09c1f414843cf0643fb7ba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99FAD9A5-3333-45AE-87B1-17CE4F3AFFA7}"/>
</file>

<file path=customXml/itemProps2.xml><?xml version="1.0" encoding="utf-8"?>
<ds:datastoreItem xmlns:ds="http://schemas.openxmlformats.org/officeDocument/2006/customXml" ds:itemID="{0A575999-F16A-48FB-A199-82D18976FF10}"/>
</file>

<file path=customXml/itemProps3.xml><?xml version="1.0" encoding="utf-8"?>
<ds:datastoreItem xmlns:ds="http://schemas.openxmlformats.org/officeDocument/2006/customXml" ds:itemID="{E649F741-C827-43C9-A86F-13420729B1BF}"/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612</Words>
  <Application>Microsoft Office PowerPoint</Application>
  <PresentationFormat>Breitbild</PresentationFormat>
  <Paragraphs>125</Paragraphs>
  <Slides>10</Slides>
  <Notes>9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0</vt:i4>
      </vt:variant>
    </vt:vector>
  </HeadingPairs>
  <TitlesOfParts>
    <vt:vector size="20" baseType="lpstr">
      <vt:lpstr>Arial</vt:lpstr>
      <vt:lpstr>Calibri</vt:lpstr>
      <vt:lpstr>Source Sans Pro</vt:lpstr>
      <vt:lpstr>Source Sans Pro Light</vt:lpstr>
      <vt:lpstr>Source Sans Pro Semibold</vt:lpstr>
      <vt:lpstr>Symbol</vt:lpstr>
      <vt:lpstr>Wingdings</vt:lpstr>
      <vt:lpstr>MVI-SOLVE-IT Master 2014</vt:lpstr>
      <vt:lpstr>1_MVI-SOLVE-IT Master 2014</vt:lpstr>
      <vt:lpstr>think-cell Folie</vt:lpstr>
      <vt:lpstr>QUOX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Kostenindikation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Wörle Tanja</dc:creator>
  <cp:lastModifiedBy>Krause, Marius</cp:lastModifiedBy>
  <cp:revision>845</cp:revision>
  <cp:lastPrinted>2017-02-06T11:27:06Z</cp:lastPrinted>
  <dcterms:created xsi:type="dcterms:W3CDTF">2017-02-06T09:35:22Z</dcterms:created>
  <dcterms:modified xsi:type="dcterms:W3CDTF">2019-12-03T11:12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C31D589205C1147BCD52D49651B9C46</vt:lpwstr>
  </property>
</Properties>
</file>